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ags/tag1.xml" ContentType="application/vnd.openxmlformats-officedocument.presentationml.tags+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app.xml" ContentType="application/vnd.openxmlformats-officedocument.extended-properties+xml"/>
  <Override PartName="/docProps/custom.xml" ContentType="application/vnd.openxmlformats-officedocument.custom-properties+xml"/>
  <Override PartName="/docProps/core.xml" ContentType="application/vnd.openxmlformats-package.core-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5" r:id="rId4"/>
    <p:sldMasterId id="2147484118" r:id="rId5"/>
    <p:sldMasterId id="2147483660" r:id="rId6"/>
  </p:sldMasterIdLst>
  <p:notesMasterIdLst>
    <p:notesMasterId r:id="rId44"/>
  </p:notesMasterIdLst>
  <p:sldIdLst>
    <p:sldId id="260" r:id="rId7"/>
    <p:sldId id="272" r:id="rId8"/>
    <p:sldId id="258" r:id="rId9"/>
    <p:sldId id="265" r:id="rId10"/>
    <p:sldId id="295" r:id="rId11"/>
    <p:sldId id="263" r:id="rId12"/>
    <p:sldId id="264" r:id="rId13"/>
    <p:sldId id="267" r:id="rId14"/>
    <p:sldId id="261" r:id="rId15"/>
    <p:sldId id="283" r:id="rId16"/>
    <p:sldId id="293" r:id="rId17"/>
    <p:sldId id="273" r:id="rId18"/>
    <p:sldId id="2846" r:id="rId19"/>
    <p:sldId id="2848" r:id="rId20"/>
    <p:sldId id="2847" r:id="rId21"/>
    <p:sldId id="289" r:id="rId22"/>
    <p:sldId id="266" r:id="rId23"/>
    <p:sldId id="294" r:id="rId24"/>
    <p:sldId id="2849" r:id="rId25"/>
    <p:sldId id="275" r:id="rId26"/>
    <p:sldId id="298" r:id="rId27"/>
    <p:sldId id="276" r:id="rId28"/>
    <p:sldId id="268" r:id="rId29"/>
    <p:sldId id="271" r:id="rId30"/>
    <p:sldId id="270" r:id="rId31"/>
    <p:sldId id="269" r:id="rId32"/>
    <p:sldId id="281" r:id="rId33"/>
    <p:sldId id="280" r:id="rId34"/>
    <p:sldId id="287" r:id="rId35"/>
    <p:sldId id="285" r:id="rId36"/>
    <p:sldId id="284" r:id="rId37"/>
    <p:sldId id="286" r:id="rId38"/>
    <p:sldId id="279" r:id="rId39"/>
    <p:sldId id="2845" r:id="rId40"/>
    <p:sldId id="296" r:id="rId41"/>
    <p:sldId id="291" r:id="rId42"/>
    <p:sldId id="288" r:id="rId4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cLeod, Caroline" initials="MC" lastIdx="23" clrIdx="0">
    <p:extLst>
      <p:ext uri="{19B8F6BF-5375-455C-9EA6-DF929625EA0E}">
        <p15:presenceInfo xmlns:p15="http://schemas.microsoft.com/office/powerpoint/2012/main" userId="S::cmcleod@greatdentalplans.com::43031ce9-49a3-4f5f-9207-5c83a33945f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AEAE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AB080F6-174F-49E1-A836-8B3925D1540E}" v="169" dt="2021-02-08T21:16:16.99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67347" autoAdjust="0"/>
  </p:normalViewPr>
  <p:slideViewPr>
    <p:cSldViewPr snapToGrid="0">
      <p:cViewPr varScale="1">
        <p:scale>
          <a:sx n="48" d="100"/>
          <a:sy n="48" d="100"/>
        </p:scale>
        <p:origin x="1554" y="5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6/11/relationships/changesInfo" Target="changesInfos/changesInfo1.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notesMaster" Target="notesMasters/notesMaster1.xml"/><Relationship Id="rId52" Type="http://schemas.openxmlformats.org/officeDocument/2006/relationships/customXml" Target="../customXml/item4.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theme" Target="theme/theme1.xml"/><Relationship Id="rId8" Type="http://schemas.openxmlformats.org/officeDocument/2006/relationships/slide" Target="slides/slide2.xml"/><Relationship Id="rId51" Type="http://schemas.microsoft.com/office/2015/10/relationships/revisionInfo" Target="revisionInfo.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cLeod, Caroline" userId="S::cmcleod@greatdentalplans.com::43031ce9-49a3-4f5f-9207-5c83a33945f8" providerId="AD" clId="Web-{4C1354C0-DF18-2B6A-89DC-1369367DABE6}"/>
    <pc:docChg chg="addSld delSld modSld sldOrd">
      <pc:chgData name="McLeod, Caroline" userId="S::cmcleod@greatdentalplans.com::43031ce9-49a3-4f5f-9207-5c83a33945f8" providerId="AD" clId="Web-{4C1354C0-DF18-2B6A-89DC-1369367DABE6}" dt="2021-02-02T18:48:58.988" v="353"/>
      <pc:docMkLst>
        <pc:docMk/>
      </pc:docMkLst>
      <pc:sldChg chg="ord">
        <pc:chgData name="McLeod, Caroline" userId="S::cmcleod@greatdentalplans.com::43031ce9-49a3-4f5f-9207-5c83a33945f8" providerId="AD" clId="Web-{4C1354C0-DF18-2B6A-89DC-1369367DABE6}" dt="2021-02-02T18:29:56.908" v="161"/>
        <pc:sldMkLst>
          <pc:docMk/>
          <pc:sldMk cId="3915446189" sldId="266"/>
        </pc:sldMkLst>
      </pc:sldChg>
      <pc:sldChg chg="addSp delSp modSp add del delAnim">
        <pc:chgData name="McLeod, Caroline" userId="S::cmcleod@greatdentalplans.com::43031ce9-49a3-4f5f-9207-5c83a33945f8" providerId="AD" clId="Web-{4C1354C0-DF18-2B6A-89DC-1369367DABE6}" dt="2021-02-02T18:29:38.251" v="160" actId="1076"/>
        <pc:sldMkLst>
          <pc:docMk/>
          <pc:sldMk cId="3725104515" sldId="275"/>
        </pc:sldMkLst>
        <pc:spChg chg="mod">
          <ac:chgData name="McLeod, Caroline" userId="S::cmcleod@greatdentalplans.com::43031ce9-49a3-4f5f-9207-5c83a33945f8" providerId="AD" clId="Web-{4C1354C0-DF18-2B6A-89DC-1369367DABE6}" dt="2021-02-02T18:24:20.616" v="106" actId="1076"/>
          <ac:spMkLst>
            <pc:docMk/>
            <pc:sldMk cId="3725104515" sldId="275"/>
            <ac:spMk id="2" creationId="{4258E63E-FD47-4B2C-86E8-E8EB717E50D0}"/>
          </ac:spMkLst>
        </pc:spChg>
        <pc:spChg chg="mod">
          <ac:chgData name="McLeod, Caroline" userId="S::cmcleod@greatdentalplans.com::43031ce9-49a3-4f5f-9207-5c83a33945f8" providerId="AD" clId="Web-{4C1354C0-DF18-2B6A-89DC-1369367DABE6}" dt="2021-02-02T18:24:31.242" v="109" actId="1076"/>
          <ac:spMkLst>
            <pc:docMk/>
            <pc:sldMk cId="3725104515" sldId="275"/>
            <ac:spMk id="7" creationId="{71E99223-A065-4690-B96C-81FE0EDF3AFD}"/>
          </ac:spMkLst>
        </pc:spChg>
        <pc:spChg chg="add del mod">
          <ac:chgData name="McLeod, Caroline" userId="S::cmcleod@greatdentalplans.com::43031ce9-49a3-4f5f-9207-5c83a33945f8" providerId="AD" clId="Web-{4C1354C0-DF18-2B6A-89DC-1369367DABE6}" dt="2021-02-02T18:24:38.898" v="145" actId="1076"/>
          <ac:spMkLst>
            <pc:docMk/>
            <pc:sldMk cId="3725104515" sldId="275"/>
            <ac:spMk id="8" creationId="{C4691361-A2C8-437E-A347-FF1A9623A7D4}"/>
          </ac:spMkLst>
        </pc:spChg>
        <pc:spChg chg="mod">
          <ac:chgData name="McLeod, Caroline" userId="S::cmcleod@greatdentalplans.com::43031ce9-49a3-4f5f-9207-5c83a33945f8" providerId="AD" clId="Web-{4C1354C0-DF18-2B6A-89DC-1369367DABE6}" dt="2021-02-02T18:24:31.257" v="110" actId="1076"/>
          <ac:spMkLst>
            <pc:docMk/>
            <pc:sldMk cId="3725104515" sldId="275"/>
            <ac:spMk id="9" creationId="{A450AFBB-BC8B-4B99-926B-23D778487FA4}"/>
          </ac:spMkLst>
        </pc:spChg>
        <pc:spChg chg="mod">
          <ac:chgData name="McLeod, Caroline" userId="S::cmcleod@greatdentalplans.com::43031ce9-49a3-4f5f-9207-5c83a33945f8" providerId="AD" clId="Web-{4C1354C0-DF18-2B6A-89DC-1369367DABE6}" dt="2021-02-02T18:24:31.273" v="111" actId="1076"/>
          <ac:spMkLst>
            <pc:docMk/>
            <pc:sldMk cId="3725104515" sldId="275"/>
            <ac:spMk id="10" creationId="{B12981A8-AE90-4116-AB07-D5BEB5F8B50E}"/>
          </ac:spMkLst>
        </pc:spChg>
        <pc:spChg chg="mod">
          <ac:chgData name="McLeod, Caroline" userId="S::cmcleod@greatdentalplans.com::43031ce9-49a3-4f5f-9207-5c83a33945f8" providerId="AD" clId="Web-{4C1354C0-DF18-2B6A-89DC-1369367DABE6}" dt="2021-02-02T18:24:31.289" v="112" actId="1076"/>
          <ac:spMkLst>
            <pc:docMk/>
            <pc:sldMk cId="3725104515" sldId="275"/>
            <ac:spMk id="11" creationId="{2C7C828B-D372-4F5A-BC81-6EFB63B31F33}"/>
          </ac:spMkLst>
        </pc:spChg>
        <pc:spChg chg="mod">
          <ac:chgData name="McLeod, Caroline" userId="S::cmcleod@greatdentalplans.com::43031ce9-49a3-4f5f-9207-5c83a33945f8" providerId="AD" clId="Web-{4C1354C0-DF18-2B6A-89DC-1369367DABE6}" dt="2021-02-02T18:24:31.304" v="113" actId="1076"/>
          <ac:spMkLst>
            <pc:docMk/>
            <pc:sldMk cId="3725104515" sldId="275"/>
            <ac:spMk id="12" creationId="{13A21C6E-95D2-4A80-9D86-E72DE5DF1DCC}"/>
          </ac:spMkLst>
        </pc:spChg>
        <pc:spChg chg="mod">
          <ac:chgData name="McLeod, Caroline" userId="S::cmcleod@greatdentalplans.com::43031ce9-49a3-4f5f-9207-5c83a33945f8" providerId="AD" clId="Web-{4C1354C0-DF18-2B6A-89DC-1369367DABE6}" dt="2021-02-02T18:24:31.320" v="114" actId="1076"/>
          <ac:spMkLst>
            <pc:docMk/>
            <pc:sldMk cId="3725104515" sldId="275"/>
            <ac:spMk id="13" creationId="{529BB0ED-8A29-4667-9D53-D0708A4E42E8}"/>
          </ac:spMkLst>
        </pc:spChg>
        <pc:spChg chg="mod">
          <ac:chgData name="McLeod, Caroline" userId="S::cmcleod@greatdentalplans.com::43031ce9-49a3-4f5f-9207-5c83a33945f8" providerId="AD" clId="Web-{4C1354C0-DF18-2B6A-89DC-1369367DABE6}" dt="2021-02-02T18:24:31.335" v="115" actId="1076"/>
          <ac:spMkLst>
            <pc:docMk/>
            <pc:sldMk cId="3725104515" sldId="275"/>
            <ac:spMk id="14" creationId="{2AF95A4B-97C5-4D50-B641-57B3552E9029}"/>
          </ac:spMkLst>
        </pc:spChg>
        <pc:spChg chg="mod">
          <ac:chgData name="McLeod, Caroline" userId="S::cmcleod@greatdentalplans.com::43031ce9-49a3-4f5f-9207-5c83a33945f8" providerId="AD" clId="Web-{4C1354C0-DF18-2B6A-89DC-1369367DABE6}" dt="2021-02-02T18:24:31.351" v="116" actId="1076"/>
          <ac:spMkLst>
            <pc:docMk/>
            <pc:sldMk cId="3725104515" sldId="275"/>
            <ac:spMk id="15" creationId="{B81AB37F-CD90-435B-AC65-48CAA510420E}"/>
          </ac:spMkLst>
        </pc:spChg>
        <pc:spChg chg="mod">
          <ac:chgData name="McLeod, Caroline" userId="S::cmcleod@greatdentalplans.com::43031ce9-49a3-4f5f-9207-5c83a33945f8" providerId="AD" clId="Web-{4C1354C0-DF18-2B6A-89DC-1369367DABE6}" dt="2021-02-02T18:24:31.367" v="117" actId="1076"/>
          <ac:spMkLst>
            <pc:docMk/>
            <pc:sldMk cId="3725104515" sldId="275"/>
            <ac:spMk id="16" creationId="{AE124BA3-5DC2-42B8-8E54-9A3D5E9226D3}"/>
          </ac:spMkLst>
        </pc:spChg>
        <pc:spChg chg="mod">
          <ac:chgData name="McLeod, Caroline" userId="S::cmcleod@greatdentalplans.com::43031ce9-49a3-4f5f-9207-5c83a33945f8" providerId="AD" clId="Web-{4C1354C0-DF18-2B6A-89DC-1369367DABE6}" dt="2021-02-02T18:24:31.632" v="130" actId="1076"/>
          <ac:spMkLst>
            <pc:docMk/>
            <pc:sldMk cId="3725104515" sldId="275"/>
            <ac:spMk id="17" creationId="{CB440631-8E64-4922-AD70-BEACA287AD22}"/>
          </ac:spMkLst>
        </pc:spChg>
        <pc:spChg chg="mod">
          <ac:chgData name="McLeod, Caroline" userId="S::cmcleod@greatdentalplans.com::43031ce9-49a3-4f5f-9207-5c83a33945f8" providerId="AD" clId="Web-{4C1354C0-DF18-2B6A-89DC-1369367DABE6}" dt="2021-02-02T18:24:31.648" v="131" actId="1076"/>
          <ac:spMkLst>
            <pc:docMk/>
            <pc:sldMk cId="3725104515" sldId="275"/>
            <ac:spMk id="18" creationId="{D8759982-1589-48F6-A692-D9EFEF426CEE}"/>
          </ac:spMkLst>
        </pc:spChg>
        <pc:spChg chg="mod">
          <ac:chgData name="McLeod, Caroline" userId="S::cmcleod@greatdentalplans.com::43031ce9-49a3-4f5f-9207-5c83a33945f8" providerId="AD" clId="Web-{4C1354C0-DF18-2B6A-89DC-1369367DABE6}" dt="2021-02-02T18:24:31.664" v="132" actId="1076"/>
          <ac:spMkLst>
            <pc:docMk/>
            <pc:sldMk cId="3725104515" sldId="275"/>
            <ac:spMk id="19" creationId="{859126D6-0595-4EA3-8EDF-B5DF5131C230}"/>
          </ac:spMkLst>
        </pc:spChg>
        <pc:spChg chg="mod">
          <ac:chgData name="McLeod, Caroline" userId="S::cmcleod@greatdentalplans.com::43031ce9-49a3-4f5f-9207-5c83a33945f8" providerId="AD" clId="Web-{4C1354C0-DF18-2B6A-89DC-1369367DABE6}" dt="2021-02-02T18:24:31.679" v="133" actId="1076"/>
          <ac:spMkLst>
            <pc:docMk/>
            <pc:sldMk cId="3725104515" sldId="275"/>
            <ac:spMk id="20" creationId="{0A1306C2-B677-45F9-BE43-1015919CB2D9}"/>
          </ac:spMkLst>
        </pc:spChg>
        <pc:spChg chg="mod">
          <ac:chgData name="McLeod, Caroline" userId="S::cmcleod@greatdentalplans.com::43031ce9-49a3-4f5f-9207-5c83a33945f8" providerId="AD" clId="Web-{4C1354C0-DF18-2B6A-89DC-1369367DABE6}" dt="2021-02-02T18:24:31.695" v="134" actId="1076"/>
          <ac:spMkLst>
            <pc:docMk/>
            <pc:sldMk cId="3725104515" sldId="275"/>
            <ac:spMk id="21" creationId="{9E9652D0-7EEA-4AD1-9ECF-482E6117E578}"/>
          </ac:spMkLst>
        </pc:spChg>
        <pc:spChg chg="mod">
          <ac:chgData name="McLeod, Caroline" userId="S::cmcleod@greatdentalplans.com::43031ce9-49a3-4f5f-9207-5c83a33945f8" providerId="AD" clId="Web-{4C1354C0-DF18-2B6A-89DC-1369367DABE6}" dt="2021-02-02T18:24:31.726" v="135" actId="1076"/>
          <ac:spMkLst>
            <pc:docMk/>
            <pc:sldMk cId="3725104515" sldId="275"/>
            <ac:spMk id="22" creationId="{88657DEF-EF0A-483D-AA86-1E659508783A}"/>
          </ac:spMkLst>
        </pc:spChg>
        <pc:spChg chg="mod">
          <ac:chgData name="McLeod, Caroline" userId="S::cmcleod@greatdentalplans.com::43031ce9-49a3-4f5f-9207-5c83a33945f8" providerId="AD" clId="Web-{4C1354C0-DF18-2B6A-89DC-1369367DABE6}" dt="2021-02-02T18:24:31.742" v="136" actId="1076"/>
          <ac:spMkLst>
            <pc:docMk/>
            <pc:sldMk cId="3725104515" sldId="275"/>
            <ac:spMk id="23" creationId="{3AA68C7C-263A-4AA8-A7D7-3A23CBE13803}"/>
          </ac:spMkLst>
        </pc:spChg>
        <pc:spChg chg="mod">
          <ac:chgData name="McLeod, Caroline" userId="S::cmcleod@greatdentalplans.com::43031ce9-49a3-4f5f-9207-5c83a33945f8" providerId="AD" clId="Web-{4C1354C0-DF18-2B6A-89DC-1369367DABE6}" dt="2021-02-02T18:24:31.757" v="137" actId="1076"/>
          <ac:spMkLst>
            <pc:docMk/>
            <pc:sldMk cId="3725104515" sldId="275"/>
            <ac:spMk id="24" creationId="{DD6CC340-1E77-45B3-A842-18F73163ADA9}"/>
          </ac:spMkLst>
        </pc:spChg>
        <pc:spChg chg="mod">
          <ac:chgData name="McLeod, Caroline" userId="S::cmcleod@greatdentalplans.com::43031ce9-49a3-4f5f-9207-5c83a33945f8" providerId="AD" clId="Web-{4C1354C0-DF18-2B6A-89DC-1369367DABE6}" dt="2021-02-02T18:24:31.773" v="138" actId="1076"/>
          <ac:spMkLst>
            <pc:docMk/>
            <pc:sldMk cId="3725104515" sldId="275"/>
            <ac:spMk id="25" creationId="{8CC2E127-6443-45BB-80BC-0D25D50F7519}"/>
          </ac:spMkLst>
        </pc:spChg>
        <pc:spChg chg="mod">
          <ac:chgData name="McLeod, Caroline" userId="S::cmcleod@greatdentalplans.com::43031ce9-49a3-4f5f-9207-5c83a33945f8" providerId="AD" clId="Web-{4C1354C0-DF18-2B6A-89DC-1369367DABE6}" dt="2021-02-02T18:24:31.789" v="139" actId="1076"/>
          <ac:spMkLst>
            <pc:docMk/>
            <pc:sldMk cId="3725104515" sldId="275"/>
            <ac:spMk id="26" creationId="{29833A2B-1520-45EB-B0B7-9D2B8E5ADB47}"/>
          </ac:spMkLst>
        </pc:spChg>
        <pc:spChg chg="mod">
          <ac:chgData name="McLeod, Caroline" userId="S::cmcleod@greatdentalplans.com::43031ce9-49a3-4f5f-9207-5c83a33945f8" providerId="AD" clId="Web-{4C1354C0-DF18-2B6A-89DC-1369367DABE6}" dt="2021-02-02T18:24:31.820" v="140" actId="1076"/>
          <ac:spMkLst>
            <pc:docMk/>
            <pc:sldMk cId="3725104515" sldId="275"/>
            <ac:spMk id="27" creationId="{5F1328BC-8D9C-45BE-B2BD-A97924A63A6D}"/>
          </ac:spMkLst>
        </pc:spChg>
        <pc:spChg chg="add del mod">
          <ac:chgData name="McLeod, Caroline" userId="S::cmcleod@greatdentalplans.com::43031ce9-49a3-4f5f-9207-5c83a33945f8" providerId="AD" clId="Web-{4C1354C0-DF18-2B6A-89DC-1369367DABE6}" dt="2021-02-02T18:21:59.065" v="84"/>
          <ac:spMkLst>
            <pc:docMk/>
            <pc:sldMk cId="3725104515" sldId="275"/>
            <ac:spMk id="29" creationId="{C830A1A3-D0C0-4951-B609-FBF09D20F7ED}"/>
          </ac:spMkLst>
        </pc:spChg>
        <pc:spChg chg="mod">
          <ac:chgData name="McLeod, Caroline" userId="S::cmcleod@greatdentalplans.com::43031ce9-49a3-4f5f-9207-5c83a33945f8" providerId="AD" clId="Web-{4C1354C0-DF18-2B6A-89DC-1369367DABE6}" dt="2021-02-02T18:24:31.835" v="141" actId="1076"/>
          <ac:spMkLst>
            <pc:docMk/>
            <pc:sldMk cId="3725104515" sldId="275"/>
            <ac:spMk id="37" creationId="{F768AE1C-655A-4E0B-B785-0E366502CAD6}"/>
          </ac:spMkLst>
        </pc:spChg>
        <pc:spChg chg="mod">
          <ac:chgData name="McLeod, Caroline" userId="S::cmcleod@greatdentalplans.com::43031ce9-49a3-4f5f-9207-5c83a33945f8" providerId="AD" clId="Web-{4C1354C0-DF18-2B6A-89DC-1369367DABE6}" dt="2021-02-02T18:24:31.851" v="142" actId="1076"/>
          <ac:spMkLst>
            <pc:docMk/>
            <pc:sldMk cId="3725104515" sldId="275"/>
            <ac:spMk id="38" creationId="{7102E250-F4B0-4EFD-8534-65B587720285}"/>
          </ac:spMkLst>
        </pc:spChg>
        <pc:spChg chg="mod">
          <ac:chgData name="McLeod, Caroline" userId="S::cmcleod@greatdentalplans.com::43031ce9-49a3-4f5f-9207-5c83a33945f8" providerId="AD" clId="Web-{4C1354C0-DF18-2B6A-89DC-1369367DABE6}" dt="2021-02-02T18:24:31.851" v="143" actId="1076"/>
          <ac:spMkLst>
            <pc:docMk/>
            <pc:sldMk cId="3725104515" sldId="275"/>
            <ac:spMk id="41" creationId="{DA5341D6-FF38-4920-A003-A4160D9962BE}"/>
          </ac:spMkLst>
        </pc:spChg>
        <pc:spChg chg="add del mod">
          <ac:chgData name="McLeod, Caroline" userId="S::cmcleod@greatdentalplans.com::43031ce9-49a3-4f5f-9207-5c83a33945f8" providerId="AD" clId="Web-{4C1354C0-DF18-2B6A-89DC-1369367DABE6}" dt="2021-02-02T18:25:01.211" v="153" actId="1076"/>
          <ac:spMkLst>
            <pc:docMk/>
            <pc:sldMk cId="3725104515" sldId="275"/>
            <ac:spMk id="45" creationId="{FEF7F17B-D88A-4753-8CF2-751124A3D656}"/>
          </ac:spMkLst>
        </pc:spChg>
        <pc:spChg chg="add del mod">
          <ac:chgData name="McLeod, Caroline" userId="S::cmcleod@greatdentalplans.com::43031ce9-49a3-4f5f-9207-5c83a33945f8" providerId="AD" clId="Web-{4C1354C0-DF18-2B6A-89DC-1369367DABE6}" dt="2021-02-02T18:24:14.960" v="103"/>
          <ac:spMkLst>
            <pc:docMk/>
            <pc:sldMk cId="3725104515" sldId="275"/>
            <ac:spMk id="46" creationId="{67663255-3772-470C-B90E-6C43B12FAF76}"/>
          </ac:spMkLst>
        </pc:spChg>
        <pc:spChg chg="add del">
          <ac:chgData name="McLeod, Caroline" userId="S::cmcleod@greatdentalplans.com::43031ce9-49a3-4f5f-9207-5c83a33945f8" providerId="AD" clId="Web-{4C1354C0-DF18-2B6A-89DC-1369367DABE6}" dt="2021-02-02T18:29:31.329" v="159"/>
          <ac:spMkLst>
            <pc:docMk/>
            <pc:sldMk cId="3725104515" sldId="275"/>
            <ac:spMk id="47" creationId="{6D073942-584C-4CA1-819D-4DB72DF0041A}"/>
          </ac:spMkLst>
        </pc:spChg>
        <pc:picChg chg="add del mod">
          <ac:chgData name="McLeod, Caroline" userId="S::cmcleod@greatdentalplans.com::43031ce9-49a3-4f5f-9207-5c83a33945f8" providerId="AD" clId="Web-{4C1354C0-DF18-2B6A-89DC-1369367DABE6}" dt="2021-02-02T18:24:57.367" v="152" actId="1076"/>
          <ac:picMkLst>
            <pc:docMk/>
            <pc:sldMk cId="3725104515" sldId="275"/>
            <ac:picMk id="3" creationId="{54179603-F4A2-4125-8990-8EDFCBF4E291}"/>
          </ac:picMkLst>
        </pc:picChg>
        <pc:cxnChg chg="mod">
          <ac:chgData name="McLeod, Caroline" userId="S::cmcleod@greatdentalplans.com::43031ce9-49a3-4f5f-9207-5c83a33945f8" providerId="AD" clId="Web-{4C1354C0-DF18-2B6A-89DC-1369367DABE6}" dt="2021-02-02T18:24:31.210" v="107" actId="1076"/>
          <ac:cxnSpMkLst>
            <pc:docMk/>
            <pc:sldMk cId="3725104515" sldId="275"/>
            <ac:cxnSpMk id="4" creationId="{94700C9B-B268-421A-8EA5-F55B10CCE28A}"/>
          </ac:cxnSpMkLst>
        </pc:cxnChg>
        <pc:cxnChg chg="mod">
          <ac:chgData name="McLeod, Caroline" userId="S::cmcleod@greatdentalplans.com::43031ce9-49a3-4f5f-9207-5c83a33945f8" providerId="AD" clId="Web-{4C1354C0-DF18-2B6A-89DC-1369367DABE6}" dt="2021-02-02T18:24:31.226" v="108" actId="1076"/>
          <ac:cxnSpMkLst>
            <pc:docMk/>
            <pc:sldMk cId="3725104515" sldId="275"/>
            <ac:cxnSpMk id="5" creationId="{9F4187C4-1805-436B-9896-6E16904095CC}"/>
          </ac:cxnSpMkLst>
        </pc:cxnChg>
        <pc:cxnChg chg="mod">
          <ac:chgData name="McLeod, Caroline" userId="S::cmcleod@greatdentalplans.com::43031ce9-49a3-4f5f-9207-5c83a33945f8" providerId="AD" clId="Web-{4C1354C0-DF18-2B6A-89DC-1369367DABE6}" dt="2021-02-02T18:24:31.414" v="118" actId="1076"/>
          <ac:cxnSpMkLst>
            <pc:docMk/>
            <pc:sldMk cId="3725104515" sldId="275"/>
            <ac:cxnSpMk id="28" creationId="{56180A23-A740-4683-94DC-052BE1A5A3E8}"/>
          </ac:cxnSpMkLst>
        </pc:cxnChg>
        <pc:cxnChg chg="mod">
          <ac:chgData name="McLeod, Caroline" userId="S::cmcleod@greatdentalplans.com::43031ce9-49a3-4f5f-9207-5c83a33945f8" providerId="AD" clId="Web-{4C1354C0-DF18-2B6A-89DC-1369367DABE6}" dt="2021-02-02T18:24:31.445" v="119" actId="1076"/>
          <ac:cxnSpMkLst>
            <pc:docMk/>
            <pc:sldMk cId="3725104515" sldId="275"/>
            <ac:cxnSpMk id="30" creationId="{85367D22-2377-4D04-86C2-E9733D8D5859}"/>
          </ac:cxnSpMkLst>
        </pc:cxnChg>
        <pc:cxnChg chg="mod">
          <ac:chgData name="McLeod, Caroline" userId="S::cmcleod@greatdentalplans.com::43031ce9-49a3-4f5f-9207-5c83a33945f8" providerId="AD" clId="Web-{4C1354C0-DF18-2B6A-89DC-1369367DABE6}" dt="2021-02-02T18:24:31.460" v="120" actId="1076"/>
          <ac:cxnSpMkLst>
            <pc:docMk/>
            <pc:sldMk cId="3725104515" sldId="275"/>
            <ac:cxnSpMk id="31" creationId="{8C4C2D64-1B78-4783-B8B3-3F0F7116EC01}"/>
          </ac:cxnSpMkLst>
        </pc:cxnChg>
        <pc:cxnChg chg="mod">
          <ac:chgData name="McLeod, Caroline" userId="S::cmcleod@greatdentalplans.com::43031ce9-49a3-4f5f-9207-5c83a33945f8" providerId="AD" clId="Web-{4C1354C0-DF18-2B6A-89DC-1369367DABE6}" dt="2021-02-02T18:24:31.476" v="121" actId="1076"/>
          <ac:cxnSpMkLst>
            <pc:docMk/>
            <pc:sldMk cId="3725104515" sldId="275"/>
            <ac:cxnSpMk id="32" creationId="{4F3015ED-B58D-48D1-A9E7-314772158B24}"/>
          </ac:cxnSpMkLst>
        </pc:cxnChg>
        <pc:cxnChg chg="mod">
          <ac:chgData name="McLeod, Caroline" userId="S::cmcleod@greatdentalplans.com::43031ce9-49a3-4f5f-9207-5c83a33945f8" providerId="AD" clId="Web-{4C1354C0-DF18-2B6A-89DC-1369367DABE6}" dt="2021-02-02T18:24:31.492" v="122" actId="1076"/>
          <ac:cxnSpMkLst>
            <pc:docMk/>
            <pc:sldMk cId="3725104515" sldId="275"/>
            <ac:cxnSpMk id="33" creationId="{883D7913-A7A6-40C1-915B-8BFB5EA47A2E}"/>
          </ac:cxnSpMkLst>
        </pc:cxnChg>
        <pc:cxnChg chg="del mod">
          <ac:chgData name="McLeod, Caroline" userId="S::cmcleod@greatdentalplans.com::43031ce9-49a3-4f5f-9207-5c83a33945f8" providerId="AD" clId="Web-{4C1354C0-DF18-2B6A-89DC-1369367DABE6}" dt="2021-02-02T18:29:23" v="156"/>
          <ac:cxnSpMkLst>
            <pc:docMk/>
            <pc:sldMk cId="3725104515" sldId="275"/>
            <ac:cxnSpMk id="34" creationId="{30560336-6156-43DD-A1B0-D3B6C10C2450}"/>
          </ac:cxnSpMkLst>
        </pc:cxnChg>
        <pc:cxnChg chg="del mod">
          <ac:chgData name="McLeod, Caroline" userId="S::cmcleod@greatdentalplans.com::43031ce9-49a3-4f5f-9207-5c83a33945f8" providerId="AD" clId="Web-{4C1354C0-DF18-2B6A-89DC-1369367DABE6}" dt="2021-02-02T18:26:35.214" v="154"/>
          <ac:cxnSpMkLst>
            <pc:docMk/>
            <pc:sldMk cId="3725104515" sldId="275"/>
            <ac:cxnSpMk id="35" creationId="{94AD4888-34ED-4463-9C47-A65919F34813}"/>
          </ac:cxnSpMkLst>
        </pc:cxnChg>
        <pc:cxnChg chg="mod">
          <ac:chgData name="McLeod, Caroline" userId="S::cmcleod@greatdentalplans.com::43031ce9-49a3-4f5f-9207-5c83a33945f8" providerId="AD" clId="Web-{4C1354C0-DF18-2B6A-89DC-1369367DABE6}" dt="2021-02-02T18:24:31.539" v="125" actId="1076"/>
          <ac:cxnSpMkLst>
            <pc:docMk/>
            <pc:sldMk cId="3725104515" sldId="275"/>
            <ac:cxnSpMk id="39" creationId="{1D6FF747-63B3-414B-8DF4-2B5400C2A3FC}"/>
          </ac:cxnSpMkLst>
        </pc:cxnChg>
        <pc:cxnChg chg="mod">
          <ac:chgData name="McLeod, Caroline" userId="S::cmcleod@greatdentalplans.com::43031ce9-49a3-4f5f-9207-5c83a33945f8" providerId="AD" clId="Web-{4C1354C0-DF18-2B6A-89DC-1369367DABE6}" dt="2021-02-02T18:24:31.554" v="126" actId="1076"/>
          <ac:cxnSpMkLst>
            <pc:docMk/>
            <pc:sldMk cId="3725104515" sldId="275"/>
            <ac:cxnSpMk id="40" creationId="{A339A679-1AC3-4F79-881B-DC648B114A2C}"/>
          </ac:cxnSpMkLst>
        </pc:cxnChg>
        <pc:cxnChg chg="add mod">
          <ac:chgData name="McLeod, Caroline" userId="S::cmcleod@greatdentalplans.com::43031ce9-49a3-4f5f-9207-5c83a33945f8" providerId="AD" clId="Web-{4C1354C0-DF18-2B6A-89DC-1369367DABE6}" dt="2021-02-02T18:29:38.251" v="160" actId="1076"/>
          <ac:cxnSpMkLst>
            <pc:docMk/>
            <pc:sldMk cId="3725104515" sldId="275"/>
            <ac:cxnSpMk id="48" creationId="{8C4058D2-B1F2-48D3-8DDF-F54AA0062EBE}"/>
          </ac:cxnSpMkLst>
        </pc:cxnChg>
      </pc:sldChg>
      <pc:sldChg chg="addSp delSp modSp mod modClrScheme chgLayout">
        <pc:chgData name="McLeod, Caroline" userId="S::cmcleod@greatdentalplans.com::43031ce9-49a3-4f5f-9207-5c83a33945f8" providerId="AD" clId="Web-{4C1354C0-DF18-2B6A-89DC-1369367DABE6}" dt="2021-02-02T18:33:58.024" v="200"/>
        <pc:sldMkLst>
          <pc:docMk/>
          <pc:sldMk cId="3066448132" sldId="283"/>
        </pc:sldMkLst>
        <pc:spChg chg="mod ord">
          <ac:chgData name="McLeod, Caroline" userId="S::cmcleod@greatdentalplans.com::43031ce9-49a3-4f5f-9207-5c83a33945f8" providerId="AD" clId="Web-{4C1354C0-DF18-2B6A-89DC-1369367DABE6}" dt="2021-02-02T18:33:38.148" v="197" actId="1076"/>
          <ac:spMkLst>
            <pc:docMk/>
            <pc:sldMk cId="3066448132" sldId="283"/>
            <ac:spMk id="2" creationId="{21125826-3397-4F68-856C-A5122A0563CB}"/>
          </ac:spMkLst>
        </pc:spChg>
        <pc:spChg chg="del">
          <ac:chgData name="McLeod, Caroline" userId="S::cmcleod@greatdentalplans.com::43031ce9-49a3-4f5f-9207-5c83a33945f8" providerId="AD" clId="Web-{4C1354C0-DF18-2B6A-89DC-1369367DABE6}" dt="2021-02-02T18:31:11.253" v="163"/>
          <ac:spMkLst>
            <pc:docMk/>
            <pc:sldMk cId="3066448132" sldId="283"/>
            <ac:spMk id="4" creationId="{1BE5819A-EEA8-4787-9F0F-135E4BC96EC0}"/>
          </ac:spMkLst>
        </pc:spChg>
        <pc:spChg chg="del">
          <ac:chgData name="McLeod, Caroline" userId="S::cmcleod@greatdentalplans.com::43031ce9-49a3-4f5f-9207-5c83a33945f8" providerId="AD" clId="Web-{4C1354C0-DF18-2B6A-89DC-1369367DABE6}" dt="2021-02-02T18:31:11.253" v="163"/>
          <ac:spMkLst>
            <pc:docMk/>
            <pc:sldMk cId="3066448132" sldId="283"/>
            <ac:spMk id="5" creationId="{184EB4AE-C961-44ED-90F3-85BB133031E1}"/>
          </ac:spMkLst>
        </pc:spChg>
        <pc:spChg chg="del mod">
          <ac:chgData name="McLeod, Caroline" userId="S::cmcleod@greatdentalplans.com::43031ce9-49a3-4f5f-9207-5c83a33945f8" providerId="AD" clId="Web-{4C1354C0-DF18-2B6A-89DC-1369367DABE6}" dt="2021-02-02T18:31:29.754" v="168"/>
          <ac:spMkLst>
            <pc:docMk/>
            <pc:sldMk cId="3066448132" sldId="283"/>
            <ac:spMk id="6" creationId="{D86A45D1-8C9B-4409-8EF3-93A9969A02F3}"/>
          </ac:spMkLst>
        </pc:spChg>
        <pc:spChg chg="add mod">
          <ac:chgData name="McLeod, Caroline" userId="S::cmcleod@greatdentalplans.com::43031ce9-49a3-4f5f-9207-5c83a33945f8" providerId="AD" clId="Web-{4C1354C0-DF18-2B6A-89DC-1369367DABE6}" dt="2021-02-02T18:31:11.253" v="163"/>
          <ac:spMkLst>
            <pc:docMk/>
            <pc:sldMk cId="3066448132" sldId="283"/>
            <ac:spMk id="12" creationId="{DFB16130-C9C3-4EE1-97FE-48A869DEDFBE}"/>
          </ac:spMkLst>
        </pc:spChg>
        <pc:spChg chg="add mod">
          <ac:chgData name="McLeod, Caroline" userId="S::cmcleod@greatdentalplans.com::43031ce9-49a3-4f5f-9207-5c83a33945f8" providerId="AD" clId="Web-{4C1354C0-DF18-2B6A-89DC-1369367DABE6}" dt="2021-02-02T18:33:44.836" v="198" actId="1076"/>
          <ac:spMkLst>
            <pc:docMk/>
            <pc:sldMk cId="3066448132" sldId="283"/>
            <ac:spMk id="45" creationId="{02B60E60-BB0C-42DC-A4EE-2DB0EA28366F}"/>
          </ac:spMkLst>
        </pc:spChg>
        <pc:graphicFrameChg chg="add mod modGraphic">
          <ac:chgData name="McLeod, Caroline" userId="S::cmcleod@greatdentalplans.com::43031ce9-49a3-4f5f-9207-5c83a33945f8" providerId="AD" clId="Web-{4C1354C0-DF18-2B6A-89DC-1369367DABE6}" dt="2021-02-02T18:33:58.024" v="200"/>
          <ac:graphicFrameMkLst>
            <pc:docMk/>
            <pc:sldMk cId="3066448132" sldId="283"/>
            <ac:graphicFrameMk id="8" creationId="{93772A47-AECA-42DF-90B1-81CD75261A73}"/>
          </ac:graphicFrameMkLst>
        </pc:graphicFrameChg>
      </pc:sldChg>
      <pc:sldChg chg="modSp">
        <pc:chgData name="McLeod, Caroline" userId="S::cmcleod@greatdentalplans.com::43031ce9-49a3-4f5f-9207-5c83a33945f8" providerId="AD" clId="Web-{4C1354C0-DF18-2B6A-89DC-1369367DABE6}" dt="2021-02-02T18:48:58.988" v="353"/>
        <pc:sldMkLst>
          <pc:docMk/>
          <pc:sldMk cId="3183828744" sldId="285"/>
        </pc:sldMkLst>
        <pc:picChg chg="mod">
          <ac:chgData name="McLeod, Caroline" userId="S::cmcleod@greatdentalplans.com::43031ce9-49a3-4f5f-9207-5c83a33945f8" providerId="AD" clId="Web-{4C1354C0-DF18-2B6A-89DC-1369367DABE6}" dt="2021-02-02T18:48:58.988" v="353"/>
          <ac:picMkLst>
            <pc:docMk/>
            <pc:sldMk cId="3183828744" sldId="285"/>
            <ac:picMk id="4" creationId="{B34FFBE9-2916-BD49-8F95-B885DD204937}"/>
          </ac:picMkLst>
        </pc:picChg>
      </pc:sldChg>
      <pc:sldChg chg="addSp delSp modSp modNotes">
        <pc:chgData name="McLeod, Caroline" userId="S::cmcleod@greatdentalplans.com::43031ce9-49a3-4f5f-9207-5c83a33945f8" providerId="AD" clId="Web-{4C1354C0-DF18-2B6A-89DC-1369367DABE6}" dt="2021-02-02T18:47:53.892" v="344"/>
        <pc:sldMkLst>
          <pc:docMk/>
          <pc:sldMk cId="675873844" sldId="287"/>
        </pc:sldMkLst>
        <pc:spChg chg="mod">
          <ac:chgData name="McLeod, Caroline" userId="S::cmcleod@greatdentalplans.com::43031ce9-49a3-4f5f-9207-5c83a33945f8" providerId="AD" clId="Web-{4C1354C0-DF18-2B6A-89DC-1369367DABE6}" dt="2021-02-02T18:43:09.181" v="301" actId="1076"/>
          <ac:spMkLst>
            <pc:docMk/>
            <pc:sldMk cId="675873844" sldId="287"/>
            <ac:spMk id="2" creationId="{00000000-0000-0000-0000-000000000000}"/>
          </ac:spMkLst>
        </pc:spChg>
        <pc:spChg chg="add del mod">
          <ac:chgData name="McLeod, Caroline" userId="S::cmcleod@greatdentalplans.com::43031ce9-49a3-4f5f-9207-5c83a33945f8" providerId="AD" clId="Web-{4C1354C0-DF18-2B6A-89DC-1369367DABE6}" dt="2021-02-02T18:38:04.297" v="253"/>
          <ac:spMkLst>
            <pc:docMk/>
            <pc:sldMk cId="675873844" sldId="287"/>
            <ac:spMk id="4" creationId="{E8716730-7A74-4BD6-B559-BBE75DF72B27}"/>
          </ac:spMkLst>
        </pc:spChg>
        <pc:spChg chg="add del">
          <ac:chgData name="McLeod, Caroline" userId="S::cmcleod@greatdentalplans.com::43031ce9-49a3-4f5f-9207-5c83a33945f8" providerId="AD" clId="Web-{4C1354C0-DF18-2B6A-89DC-1369367DABE6}" dt="2021-02-02T18:40:06.785" v="265"/>
          <ac:spMkLst>
            <pc:docMk/>
            <pc:sldMk cId="675873844" sldId="287"/>
            <ac:spMk id="7" creationId="{1C30D550-D682-41A4-A098-BA45EE0CE1F3}"/>
          </ac:spMkLst>
        </pc:spChg>
        <pc:picChg chg="add mod">
          <ac:chgData name="McLeod, Caroline" userId="S::cmcleod@greatdentalplans.com::43031ce9-49a3-4f5f-9207-5c83a33945f8" providerId="AD" clId="Web-{4C1354C0-DF18-2B6A-89DC-1369367DABE6}" dt="2021-02-02T18:47:53.892" v="344"/>
          <ac:picMkLst>
            <pc:docMk/>
            <pc:sldMk cId="675873844" sldId="287"/>
            <ac:picMk id="5" creationId="{669A2D02-B764-4626-AC15-8B93545456C0}"/>
          </ac:picMkLst>
        </pc:picChg>
      </pc:sldChg>
      <pc:sldChg chg="addSp delSp modSp ord delAnim">
        <pc:chgData name="McLeod, Caroline" userId="S::cmcleod@greatdentalplans.com::43031ce9-49a3-4f5f-9207-5c83a33945f8" providerId="AD" clId="Web-{4C1354C0-DF18-2B6A-89DC-1369367DABE6}" dt="2021-02-02T18:20:36.875" v="77" actId="1076"/>
        <pc:sldMkLst>
          <pc:docMk/>
          <pc:sldMk cId="1549554839" sldId="289"/>
        </pc:sldMkLst>
        <pc:spChg chg="mod">
          <ac:chgData name="McLeod, Caroline" userId="S::cmcleod@greatdentalplans.com::43031ce9-49a3-4f5f-9207-5c83a33945f8" providerId="AD" clId="Web-{4C1354C0-DF18-2B6A-89DC-1369367DABE6}" dt="2021-02-02T18:18:38.669" v="37" actId="1076"/>
          <ac:spMkLst>
            <pc:docMk/>
            <pc:sldMk cId="1549554839" sldId="289"/>
            <ac:spMk id="2" creationId="{4258E63E-FD47-4B2C-86E8-E8EB717E50D0}"/>
          </ac:spMkLst>
        </pc:spChg>
        <pc:spChg chg="mod">
          <ac:chgData name="McLeod, Caroline" userId="S::cmcleod@greatdentalplans.com::43031ce9-49a3-4f5f-9207-5c83a33945f8" providerId="AD" clId="Web-{4C1354C0-DF18-2B6A-89DC-1369367DABE6}" dt="2021-02-02T18:20:36.625" v="57" actId="1076"/>
          <ac:spMkLst>
            <pc:docMk/>
            <pc:sldMk cId="1549554839" sldId="289"/>
            <ac:spMk id="7" creationId="{71E99223-A065-4690-B96C-81FE0EDF3AFD}"/>
          </ac:spMkLst>
        </pc:spChg>
        <pc:spChg chg="add del mod">
          <ac:chgData name="McLeod, Caroline" userId="S::cmcleod@greatdentalplans.com::43031ce9-49a3-4f5f-9207-5c83a33945f8" providerId="AD" clId="Web-{4C1354C0-DF18-2B6A-89DC-1369367DABE6}" dt="2021-02-02T18:18:52.169" v="38"/>
          <ac:spMkLst>
            <pc:docMk/>
            <pc:sldMk cId="1549554839" sldId="289"/>
            <ac:spMk id="9" creationId="{6ACA6605-73D8-4C8D-9E86-A48014326C94}"/>
          </ac:spMkLst>
        </pc:spChg>
        <pc:spChg chg="add mod">
          <ac:chgData name="McLeod, Caroline" userId="S::cmcleod@greatdentalplans.com::43031ce9-49a3-4f5f-9207-5c83a33945f8" providerId="AD" clId="Web-{4C1354C0-DF18-2B6A-89DC-1369367DABE6}" dt="2021-02-02T18:20:27.172" v="54" actId="1076"/>
          <ac:spMkLst>
            <pc:docMk/>
            <pc:sldMk cId="1549554839" sldId="289"/>
            <ac:spMk id="10" creationId="{82A2C8E9-5B00-4E4B-A2E3-80D8281D8DFF}"/>
          </ac:spMkLst>
        </pc:spChg>
        <pc:spChg chg="mod">
          <ac:chgData name="McLeod, Caroline" userId="S::cmcleod@greatdentalplans.com::43031ce9-49a3-4f5f-9207-5c83a33945f8" providerId="AD" clId="Web-{4C1354C0-DF18-2B6A-89DC-1369367DABE6}" dt="2021-02-02T18:20:36.641" v="58" actId="1076"/>
          <ac:spMkLst>
            <pc:docMk/>
            <pc:sldMk cId="1549554839" sldId="289"/>
            <ac:spMk id="11" creationId="{2C7C828B-D372-4F5A-BC81-6EFB63B31F33}"/>
          </ac:spMkLst>
        </pc:spChg>
        <pc:spChg chg="mod">
          <ac:chgData name="McLeod, Caroline" userId="S::cmcleod@greatdentalplans.com::43031ce9-49a3-4f5f-9207-5c83a33945f8" providerId="AD" clId="Web-{4C1354C0-DF18-2B6A-89DC-1369367DABE6}" dt="2021-02-02T18:20:36.657" v="59" actId="1076"/>
          <ac:spMkLst>
            <pc:docMk/>
            <pc:sldMk cId="1549554839" sldId="289"/>
            <ac:spMk id="12" creationId="{13A21C6E-95D2-4A80-9D86-E72DE5DF1DCC}"/>
          </ac:spMkLst>
        </pc:spChg>
        <pc:spChg chg="mod">
          <ac:chgData name="McLeod, Caroline" userId="S::cmcleod@greatdentalplans.com::43031ce9-49a3-4f5f-9207-5c83a33945f8" providerId="AD" clId="Web-{4C1354C0-DF18-2B6A-89DC-1369367DABE6}" dt="2021-02-02T18:20:36.672" v="60" actId="1076"/>
          <ac:spMkLst>
            <pc:docMk/>
            <pc:sldMk cId="1549554839" sldId="289"/>
            <ac:spMk id="13" creationId="{529BB0ED-8A29-4667-9D53-D0708A4E42E8}"/>
          </ac:spMkLst>
        </pc:spChg>
        <pc:spChg chg="mod">
          <ac:chgData name="McLeod, Caroline" userId="S::cmcleod@greatdentalplans.com::43031ce9-49a3-4f5f-9207-5c83a33945f8" providerId="AD" clId="Web-{4C1354C0-DF18-2B6A-89DC-1369367DABE6}" dt="2021-02-02T18:20:36.672" v="61" actId="1076"/>
          <ac:spMkLst>
            <pc:docMk/>
            <pc:sldMk cId="1549554839" sldId="289"/>
            <ac:spMk id="14" creationId="{2AF95A4B-97C5-4D50-B641-57B3552E9029}"/>
          </ac:spMkLst>
        </pc:spChg>
        <pc:spChg chg="mod">
          <ac:chgData name="McLeod, Caroline" userId="S::cmcleod@greatdentalplans.com::43031ce9-49a3-4f5f-9207-5c83a33945f8" providerId="AD" clId="Web-{4C1354C0-DF18-2B6A-89DC-1369367DABE6}" dt="2021-02-02T18:20:36.688" v="62" actId="1076"/>
          <ac:spMkLst>
            <pc:docMk/>
            <pc:sldMk cId="1549554839" sldId="289"/>
            <ac:spMk id="15" creationId="{B81AB37F-CD90-435B-AC65-48CAA510420E}"/>
          </ac:spMkLst>
        </pc:spChg>
        <pc:spChg chg="mod">
          <ac:chgData name="McLeod, Caroline" userId="S::cmcleod@greatdentalplans.com::43031ce9-49a3-4f5f-9207-5c83a33945f8" providerId="AD" clId="Web-{4C1354C0-DF18-2B6A-89DC-1369367DABE6}" dt="2021-02-02T18:20:36.704" v="63" actId="1076"/>
          <ac:spMkLst>
            <pc:docMk/>
            <pc:sldMk cId="1549554839" sldId="289"/>
            <ac:spMk id="16" creationId="{AE124BA3-5DC2-42B8-8E54-9A3D5E9226D3}"/>
          </ac:spMkLst>
        </pc:spChg>
        <pc:spChg chg="mod">
          <ac:chgData name="McLeod, Caroline" userId="S::cmcleod@greatdentalplans.com::43031ce9-49a3-4f5f-9207-5c83a33945f8" providerId="AD" clId="Web-{4C1354C0-DF18-2B6A-89DC-1369367DABE6}" dt="2021-02-02T18:20:36.719" v="64" actId="1076"/>
          <ac:spMkLst>
            <pc:docMk/>
            <pc:sldMk cId="1549554839" sldId="289"/>
            <ac:spMk id="17" creationId="{CB440631-8E64-4922-AD70-BEACA287AD22}"/>
          </ac:spMkLst>
        </pc:spChg>
        <pc:spChg chg="mod">
          <ac:chgData name="McLeod, Caroline" userId="S::cmcleod@greatdentalplans.com::43031ce9-49a3-4f5f-9207-5c83a33945f8" providerId="AD" clId="Web-{4C1354C0-DF18-2B6A-89DC-1369367DABE6}" dt="2021-02-02T18:20:36.735" v="65" actId="1076"/>
          <ac:spMkLst>
            <pc:docMk/>
            <pc:sldMk cId="1549554839" sldId="289"/>
            <ac:spMk id="18" creationId="{D8759982-1589-48F6-A692-D9EFEF426CEE}"/>
          </ac:spMkLst>
        </pc:spChg>
        <pc:spChg chg="mod">
          <ac:chgData name="McLeod, Caroline" userId="S::cmcleod@greatdentalplans.com::43031ce9-49a3-4f5f-9207-5c83a33945f8" providerId="AD" clId="Web-{4C1354C0-DF18-2B6A-89DC-1369367DABE6}" dt="2021-02-02T18:20:36.750" v="66" actId="1076"/>
          <ac:spMkLst>
            <pc:docMk/>
            <pc:sldMk cId="1549554839" sldId="289"/>
            <ac:spMk id="19" creationId="{859126D6-0595-4EA3-8EDF-B5DF5131C230}"/>
          </ac:spMkLst>
        </pc:spChg>
        <pc:spChg chg="mod">
          <ac:chgData name="McLeod, Caroline" userId="S::cmcleod@greatdentalplans.com::43031ce9-49a3-4f5f-9207-5c83a33945f8" providerId="AD" clId="Web-{4C1354C0-DF18-2B6A-89DC-1369367DABE6}" dt="2021-02-02T18:20:36.750" v="67" actId="1076"/>
          <ac:spMkLst>
            <pc:docMk/>
            <pc:sldMk cId="1549554839" sldId="289"/>
            <ac:spMk id="20" creationId="{0A1306C2-B677-45F9-BE43-1015919CB2D9}"/>
          </ac:spMkLst>
        </pc:spChg>
        <pc:spChg chg="mod">
          <ac:chgData name="McLeod, Caroline" userId="S::cmcleod@greatdentalplans.com::43031ce9-49a3-4f5f-9207-5c83a33945f8" providerId="AD" clId="Web-{4C1354C0-DF18-2B6A-89DC-1369367DABE6}" dt="2021-02-02T18:20:36.766" v="68" actId="1076"/>
          <ac:spMkLst>
            <pc:docMk/>
            <pc:sldMk cId="1549554839" sldId="289"/>
            <ac:spMk id="21" creationId="{9E9652D0-7EEA-4AD1-9ECF-482E6117E578}"/>
          </ac:spMkLst>
        </pc:spChg>
        <pc:spChg chg="mod">
          <ac:chgData name="McLeod, Caroline" userId="S::cmcleod@greatdentalplans.com::43031ce9-49a3-4f5f-9207-5c83a33945f8" providerId="AD" clId="Web-{4C1354C0-DF18-2B6A-89DC-1369367DABE6}" dt="2021-02-02T18:20:36.782" v="69" actId="1076"/>
          <ac:spMkLst>
            <pc:docMk/>
            <pc:sldMk cId="1549554839" sldId="289"/>
            <ac:spMk id="22" creationId="{88657DEF-EF0A-483D-AA86-1E659508783A}"/>
          </ac:spMkLst>
        </pc:spChg>
        <pc:spChg chg="mod">
          <ac:chgData name="McLeod, Caroline" userId="S::cmcleod@greatdentalplans.com::43031ce9-49a3-4f5f-9207-5c83a33945f8" providerId="AD" clId="Web-{4C1354C0-DF18-2B6A-89DC-1369367DABE6}" dt="2021-02-02T18:20:36.797" v="70" actId="1076"/>
          <ac:spMkLst>
            <pc:docMk/>
            <pc:sldMk cId="1549554839" sldId="289"/>
            <ac:spMk id="23" creationId="{3AA68C7C-263A-4AA8-A7D7-3A23CBE13803}"/>
          </ac:spMkLst>
        </pc:spChg>
        <pc:spChg chg="mod">
          <ac:chgData name="McLeod, Caroline" userId="S::cmcleod@greatdentalplans.com::43031ce9-49a3-4f5f-9207-5c83a33945f8" providerId="AD" clId="Web-{4C1354C0-DF18-2B6A-89DC-1369367DABE6}" dt="2021-02-02T18:20:36.829" v="74" actId="1076"/>
          <ac:spMkLst>
            <pc:docMk/>
            <pc:sldMk cId="1549554839" sldId="289"/>
            <ac:spMk id="37" creationId="{F768AE1C-655A-4E0B-B785-0E366502CAD6}"/>
          </ac:spMkLst>
        </pc:spChg>
        <pc:spChg chg="mod">
          <ac:chgData name="McLeod, Caroline" userId="S::cmcleod@greatdentalplans.com::43031ce9-49a3-4f5f-9207-5c83a33945f8" providerId="AD" clId="Web-{4C1354C0-DF18-2B6A-89DC-1369367DABE6}" dt="2021-02-02T18:20:36.844" v="75" actId="1076"/>
          <ac:spMkLst>
            <pc:docMk/>
            <pc:sldMk cId="1549554839" sldId="289"/>
            <ac:spMk id="38" creationId="{7102E250-F4B0-4EFD-8534-65B587720285}"/>
          </ac:spMkLst>
        </pc:spChg>
        <pc:spChg chg="mod">
          <ac:chgData name="McLeod, Caroline" userId="S::cmcleod@greatdentalplans.com::43031ce9-49a3-4f5f-9207-5c83a33945f8" providerId="AD" clId="Web-{4C1354C0-DF18-2B6A-89DC-1369367DABE6}" dt="2021-02-02T18:20:36.875" v="77" actId="1076"/>
          <ac:spMkLst>
            <pc:docMk/>
            <pc:sldMk cId="1549554839" sldId="289"/>
            <ac:spMk id="41" creationId="{DA5341D6-FF38-4920-A003-A4160D9962BE}"/>
          </ac:spMkLst>
        </pc:spChg>
        <pc:picChg chg="add del mod">
          <ac:chgData name="McLeod, Caroline" userId="S::cmcleod@greatdentalplans.com::43031ce9-49a3-4f5f-9207-5c83a33945f8" providerId="AD" clId="Web-{4C1354C0-DF18-2B6A-89DC-1369367DABE6}" dt="2021-02-02T18:17:49.964" v="3"/>
          <ac:picMkLst>
            <pc:docMk/>
            <pc:sldMk cId="1549554839" sldId="289"/>
            <ac:picMk id="3" creationId="{F2DE3474-240E-4425-81D4-9CD812AB4C63}"/>
          </ac:picMkLst>
        </pc:picChg>
        <pc:picChg chg="add mod modCrop">
          <ac:chgData name="McLeod, Caroline" userId="S::cmcleod@greatdentalplans.com::43031ce9-49a3-4f5f-9207-5c83a33945f8" providerId="AD" clId="Web-{4C1354C0-DF18-2B6A-89DC-1369367DABE6}" dt="2021-02-02T18:20:27.156" v="53" actId="1076"/>
          <ac:picMkLst>
            <pc:docMk/>
            <pc:sldMk cId="1549554839" sldId="289"/>
            <ac:picMk id="8" creationId="{92362D16-C4D3-42D3-9C88-1D3B4ECF66BA}"/>
          </ac:picMkLst>
        </pc:picChg>
        <pc:cxnChg chg="mod">
          <ac:chgData name="McLeod, Caroline" userId="S::cmcleod@greatdentalplans.com::43031ce9-49a3-4f5f-9207-5c83a33945f8" providerId="AD" clId="Web-{4C1354C0-DF18-2B6A-89DC-1369367DABE6}" dt="2021-02-02T18:20:36.610" v="55" actId="1076"/>
          <ac:cxnSpMkLst>
            <pc:docMk/>
            <pc:sldMk cId="1549554839" sldId="289"/>
            <ac:cxnSpMk id="4" creationId="{94700C9B-B268-421A-8EA5-F55B10CCE28A}"/>
          </ac:cxnSpMkLst>
        </pc:cxnChg>
        <pc:cxnChg chg="mod">
          <ac:chgData name="McLeod, Caroline" userId="S::cmcleod@greatdentalplans.com::43031ce9-49a3-4f5f-9207-5c83a33945f8" providerId="AD" clId="Web-{4C1354C0-DF18-2B6A-89DC-1369367DABE6}" dt="2021-02-02T18:20:36.610" v="56" actId="1076"/>
          <ac:cxnSpMkLst>
            <pc:docMk/>
            <pc:sldMk cId="1549554839" sldId="289"/>
            <ac:cxnSpMk id="5" creationId="{9F4187C4-1805-436B-9896-6E16904095CC}"/>
          </ac:cxnSpMkLst>
        </pc:cxnChg>
        <pc:cxnChg chg="mod">
          <ac:chgData name="McLeod, Caroline" userId="S::cmcleod@greatdentalplans.com::43031ce9-49a3-4f5f-9207-5c83a33945f8" providerId="AD" clId="Web-{4C1354C0-DF18-2B6A-89DC-1369367DABE6}" dt="2021-02-02T18:20:36.797" v="71" actId="1076"/>
          <ac:cxnSpMkLst>
            <pc:docMk/>
            <pc:sldMk cId="1549554839" sldId="289"/>
            <ac:cxnSpMk id="28" creationId="{56180A23-A740-4683-94DC-052BE1A5A3E8}"/>
          </ac:cxnSpMkLst>
        </pc:cxnChg>
        <pc:cxnChg chg="mod">
          <ac:chgData name="McLeod, Caroline" userId="S::cmcleod@greatdentalplans.com::43031ce9-49a3-4f5f-9207-5c83a33945f8" providerId="AD" clId="Web-{4C1354C0-DF18-2B6A-89DC-1369367DABE6}" dt="2021-02-02T18:20:36.813" v="72" actId="1076"/>
          <ac:cxnSpMkLst>
            <pc:docMk/>
            <pc:sldMk cId="1549554839" sldId="289"/>
            <ac:cxnSpMk id="30" creationId="{85367D22-2377-4D04-86C2-E9733D8D5859}"/>
          </ac:cxnSpMkLst>
        </pc:cxnChg>
        <pc:cxnChg chg="mod">
          <ac:chgData name="McLeod, Caroline" userId="S::cmcleod@greatdentalplans.com::43031ce9-49a3-4f5f-9207-5c83a33945f8" providerId="AD" clId="Web-{4C1354C0-DF18-2B6A-89DC-1369367DABE6}" dt="2021-02-02T18:20:36.829" v="73" actId="1076"/>
          <ac:cxnSpMkLst>
            <pc:docMk/>
            <pc:sldMk cId="1549554839" sldId="289"/>
            <ac:cxnSpMk id="31" creationId="{8C4C2D64-1B78-4783-B8B3-3F0F7116EC01}"/>
          </ac:cxnSpMkLst>
        </pc:cxnChg>
        <pc:cxnChg chg="del">
          <ac:chgData name="McLeod, Caroline" userId="S::cmcleod@greatdentalplans.com::43031ce9-49a3-4f5f-9207-5c83a33945f8" providerId="AD" clId="Web-{4C1354C0-DF18-2B6A-89DC-1369367DABE6}" dt="2021-02-02T18:17:43.480" v="0"/>
          <ac:cxnSpMkLst>
            <pc:docMk/>
            <pc:sldMk cId="1549554839" sldId="289"/>
            <ac:cxnSpMk id="32" creationId="{4F3015ED-B58D-48D1-A9E7-314772158B24}"/>
          </ac:cxnSpMkLst>
        </pc:cxnChg>
        <pc:cxnChg chg="del">
          <ac:chgData name="McLeod, Caroline" userId="S::cmcleod@greatdentalplans.com::43031ce9-49a3-4f5f-9207-5c83a33945f8" providerId="AD" clId="Web-{4C1354C0-DF18-2B6A-89DC-1369367DABE6}" dt="2021-02-02T18:17:45.870" v="1"/>
          <ac:cxnSpMkLst>
            <pc:docMk/>
            <pc:sldMk cId="1549554839" sldId="289"/>
            <ac:cxnSpMk id="33" creationId="{883D7913-A7A6-40C1-915B-8BFB5EA47A2E}"/>
          </ac:cxnSpMkLst>
        </pc:cxnChg>
        <pc:cxnChg chg="mod">
          <ac:chgData name="McLeod, Caroline" userId="S::cmcleod@greatdentalplans.com::43031ce9-49a3-4f5f-9207-5c83a33945f8" providerId="AD" clId="Web-{4C1354C0-DF18-2B6A-89DC-1369367DABE6}" dt="2021-02-02T18:20:36.860" v="76" actId="1076"/>
          <ac:cxnSpMkLst>
            <pc:docMk/>
            <pc:sldMk cId="1549554839" sldId="289"/>
            <ac:cxnSpMk id="40" creationId="{A339A679-1AC3-4F79-881B-DC648B114A2C}"/>
          </ac:cxnSpMkLst>
        </pc:cxnChg>
      </pc:sldChg>
      <pc:sldChg chg="add replId">
        <pc:chgData name="McLeod, Caroline" userId="S::cmcleod@greatdentalplans.com::43031ce9-49a3-4f5f-9207-5c83a33945f8" providerId="AD" clId="Web-{4C1354C0-DF18-2B6A-89DC-1369367DABE6}" dt="2021-02-02T18:31:02.519" v="162"/>
        <pc:sldMkLst>
          <pc:docMk/>
          <pc:sldMk cId="1539570405" sldId="290"/>
        </pc:sldMkLst>
      </pc:sldChg>
      <pc:sldChg chg="addSp delSp modSp new mod modClrScheme chgLayout">
        <pc:chgData name="McLeod, Caroline" userId="S::cmcleod@greatdentalplans.com::43031ce9-49a3-4f5f-9207-5c83a33945f8" providerId="AD" clId="Web-{4C1354C0-DF18-2B6A-89DC-1369367DABE6}" dt="2021-02-02T18:48:33.628" v="351" actId="1076"/>
        <pc:sldMkLst>
          <pc:docMk/>
          <pc:sldMk cId="2432183697" sldId="291"/>
        </pc:sldMkLst>
        <pc:spChg chg="mod">
          <ac:chgData name="McLeod, Caroline" userId="S::cmcleod@greatdentalplans.com::43031ce9-49a3-4f5f-9207-5c83a33945f8" providerId="AD" clId="Web-{4C1354C0-DF18-2B6A-89DC-1369367DABE6}" dt="2021-02-02T18:45:27.529" v="326"/>
          <ac:spMkLst>
            <pc:docMk/>
            <pc:sldMk cId="2432183697" sldId="291"/>
            <ac:spMk id="2" creationId="{518B5123-7570-46EE-B18A-A18B6B5D5FDB}"/>
          </ac:spMkLst>
        </pc:spChg>
        <pc:spChg chg="del">
          <ac:chgData name="McLeod, Caroline" userId="S::cmcleod@greatdentalplans.com::43031ce9-49a3-4f5f-9207-5c83a33945f8" providerId="AD" clId="Web-{4C1354C0-DF18-2B6A-89DC-1369367DABE6}" dt="2021-02-02T18:45:10.153" v="323"/>
          <ac:spMkLst>
            <pc:docMk/>
            <pc:sldMk cId="2432183697" sldId="291"/>
            <ac:spMk id="3" creationId="{C4A62C84-3960-4931-BB14-9D4792B04466}"/>
          </ac:spMkLst>
        </pc:spChg>
        <pc:spChg chg="del">
          <ac:chgData name="McLeod, Caroline" userId="S::cmcleod@greatdentalplans.com::43031ce9-49a3-4f5f-9207-5c83a33945f8" providerId="AD" clId="Web-{4C1354C0-DF18-2B6A-89DC-1369367DABE6}" dt="2021-02-02T18:45:27.529" v="326"/>
          <ac:spMkLst>
            <pc:docMk/>
            <pc:sldMk cId="2432183697" sldId="291"/>
            <ac:spMk id="4" creationId="{070C16A6-8B57-43AA-B45B-23825A3DFD1F}"/>
          </ac:spMkLst>
        </pc:spChg>
        <pc:picChg chg="add mod modCrop">
          <ac:chgData name="McLeod, Caroline" userId="S::cmcleod@greatdentalplans.com::43031ce9-49a3-4f5f-9207-5c83a33945f8" providerId="AD" clId="Web-{4C1354C0-DF18-2B6A-89DC-1369367DABE6}" dt="2021-02-02T18:48:23.534" v="349"/>
          <ac:picMkLst>
            <pc:docMk/>
            <pc:sldMk cId="2432183697" sldId="291"/>
            <ac:picMk id="5" creationId="{9241FB64-CC23-4E8E-8751-95E8226F01A0}"/>
          </ac:picMkLst>
        </pc:picChg>
        <pc:picChg chg="add mod">
          <ac:chgData name="McLeod, Caroline" userId="S::cmcleod@greatdentalplans.com::43031ce9-49a3-4f5f-9207-5c83a33945f8" providerId="AD" clId="Web-{4C1354C0-DF18-2B6A-89DC-1369367DABE6}" dt="2021-02-02T18:48:33.628" v="351" actId="1076"/>
          <ac:picMkLst>
            <pc:docMk/>
            <pc:sldMk cId="2432183697" sldId="291"/>
            <ac:picMk id="6" creationId="{2EA2FAAA-08B2-4556-AC25-180BCF981BA9}"/>
          </ac:picMkLst>
        </pc:picChg>
      </pc:sldChg>
      <pc:sldChg chg="addSp delSp modSp add del replId">
        <pc:chgData name="McLeod, Caroline" userId="S::cmcleod@greatdentalplans.com::43031ce9-49a3-4f5f-9207-5c83a33945f8" providerId="AD" clId="Web-{4C1354C0-DF18-2B6A-89DC-1369367DABE6}" dt="2021-02-02T18:36:29.778" v="247"/>
        <pc:sldMkLst>
          <pc:docMk/>
          <pc:sldMk cId="2075128155" sldId="292"/>
        </pc:sldMkLst>
        <pc:spChg chg="mod">
          <ac:chgData name="McLeod, Caroline" userId="S::cmcleod@greatdentalplans.com::43031ce9-49a3-4f5f-9207-5c83a33945f8" providerId="AD" clId="Web-{4C1354C0-DF18-2B6A-89DC-1369367DABE6}" dt="2021-02-02T18:36:21.653" v="246" actId="1076"/>
          <ac:spMkLst>
            <pc:docMk/>
            <pc:sldMk cId="2075128155" sldId="292"/>
            <ac:spMk id="2" creationId="{4258E63E-FD47-4B2C-86E8-E8EB717E50D0}"/>
          </ac:spMkLst>
        </pc:spChg>
        <pc:spChg chg="mod">
          <ac:chgData name="McLeod, Caroline" userId="S::cmcleod@greatdentalplans.com::43031ce9-49a3-4f5f-9207-5c83a33945f8" providerId="AD" clId="Web-{4C1354C0-DF18-2B6A-89DC-1369367DABE6}" dt="2021-02-02T18:36:18.934" v="245" actId="1076"/>
          <ac:spMkLst>
            <pc:docMk/>
            <pc:sldMk cId="2075128155" sldId="292"/>
            <ac:spMk id="6" creationId="{0B02E11B-6D28-4690-846A-9A12B28BB52E}"/>
          </ac:spMkLst>
        </pc:spChg>
        <pc:spChg chg="mod">
          <ac:chgData name="McLeod, Caroline" userId="S::cmcleod@greatdentalplans.com::43031ce9-49a3-4f5f-9207-5c83a33945f8" providerId="AD" clId="Web-{4C1354C0-DF18-2B6A-89DC-1369367DABE6}" dt="2021-02-02T18:36:16.497" v="214" actId="1076"/>
          <ac:spMkLst>
            <pc:docMk/>
            <pc:sldMk cId="2075128155" sldId="292"/>
            <ac:spMk id="7" creationId="{71E99223-A065-4690-B96C-81FE0EDF3AFD}"/>
          </ac:spMkLst>
        </pc:spChg>
        <pc:spChg chg="del">
          <ac:chgData name="McLeod, Caroline" userId="S::cmcleod@greatdentalplans.com::43031ce9-49a3-4f5f-9207-5c83a33945f8" providerId="AD" clId="Web-{4C1354C0-DF18-2B6A-89DC-1369367DABE6}" dt="2021-02-02T18:36:07.137" v="210"/>
          <ac:spMkLst>
            <pc:docMk/>
            <pc:sldMk cId="2075128155" sldId="292"/>
            <ac:spMk id="8" creationId="{C4691361-A2C8-437E-A347-FF1A9623A7D4}"/>
          </ac:spMkLst>
        </pc:spChg>
        <pc:spChg chg="mod">
          <ac:chgData name="McLeod, Caroline" userId="S::cmcleod@greatdentalplans.com::43031ce9-49a3-4f5f-9207-5c83a33945f8" providerId="AD" clId="Web-{4C1354C0-DF18-2B6A-89DC-1369367DABE6}" dt="2021-02-02T18:36:16.512" v="215" actId="1076"/>
          <ac:spMkLst>
            <pc:docMk/>
            <pc:sldMk cId="2075128155" sldId="292"/>
            <ac:spMk id="9" creationId="{A450AFBB-BC8B-4B99-926B-23D778487FA4}"/>
          </ac:spMkLst>
        </pc:spChg>
        <pc:spChg chg="mod">
          <ac:chgData name="McLeod, Caroline" userId="S::cmcleod@greatdentalplans.com::43031ce9-49a3-4f5f-9207-5c83a33945f8" providerId="AD" clId="Web-{4C1354C0-DF18-2B6A-89DC-1369367DABE6}" dt="2021-02-02T18:36:16.528" v="216" actId="1076"/>
          <ac:spMkLst>
            <pc:docMk/>
            <pc:sldMk cId="2075128155" sldId="292"/>
            <ac:spMk id="10" creationId="{B12981A8-AE90-4116-AB07-D5BEB5F8B50E}"/>
          </ac:spMkLst>
        </pc:spChg>
        <pc:spChg chg="mod">
          <ac:chgData name="McLeod, Caroline" userId="S::cmcleod@greatdentalplans.com::43031ce9-49a3-4f5f-9207-5c83a33945f8" providerId="AD" clId="Web-{4C1354C0-DF18-2B6A-89DC-1369367DABE6}" dt="2021-02-02T18:36:16.544" v="217" actId="1076"/>
          <ac:spMkLst>
            <pc:docMk/>
            <pc:sldMk cId="2075128155" sldId="292"/>
            <ac:spMk id="11" creationId="{2C7C828B-D372-4F5A-BC81-6EFB63B31F33}"/>
          </ac:spMkLst>
        </pc:spChg>
        <pc:spChg chg="mod">
          <ac:chgData name="McLeod, Caroline" userId="S::cmcleod@greatdentalplans.com::43031ce9-49a3-4f5f-9207-5c83a33945f8" providerId="AD" clId="Web-{4C1354C0-DF18-2B6A-89DC-1369367DABE6}" dt="2021-02-02T18:36:16.559" v="218" actId="1076"/>
          <ac:spMkLst>
            <pc:docMk/>
            <pc:sldMk cId="2075128155" sldId="292"/>
            <ac:spMk id="12" creationId="{13A21C6E-95D2-4A80-9D86-E72DE5DF1DCC}"/>
          </ac:spMkLst>
        </pc:spChg>
        <pc:spChg chg="mod">
          <ac:chgData name="McLeod, Caroline" userId="S::cmcleod@greatdentalplans.com::43031ce9-49a3-4f5f-9207-5c83a33945f8" providerId="AD" clId="Web-{4C1354C0-DF18-2B6A-89DC-1369367DABE6}" dt="2021-02-02T18:36:16.575" v="219" actId="1076"/>
          <ac:spMkLst>
            <pc:docMk/>
            <pc:sldMk cId="2075128155" sldId="292"/>
            <ac:spMk id="13" creationId="{529BB0ED-8A29-4667-9D53-D0708A4E42E8}"/>
          </ac:spMkLst>
        </pc:spChg>
        <pc:spChg chg="mod">
          <ac:chgData name="McLeod, Caroline" userId="S::cmcleod@greatdentalplans.com::43031ce9-49a3-4f5f-9207-5c83a33945f8" providerId="AD" clId="Web-{4C1354C0-DF18-2B6A-89DC-1369367DABE6}" dt="2021-02-02T18:36:16.591" v="220" actId="1076"/>
          <ac:spMkLst>
            <pc:docMk/>
            <pc:sldMk cId="2075128155" sldId="292"/>
            <ac:spMk id="14" creationId="{2AF95A4B-97C5-4D50-B641-57B3552E9029}"/>
          </ac:spMkLst>
        </pc:spChg>
        <pc:spChg chg="mod">
          <ac:chgData name="McLeod, Caroline" userId="S::cmcleod@greatdentalplans.com::43031ce9-49a3-4f5f-9207-5c83a33945f8" providerId="AD" clId="Web-{4C1354C0-DF18-2B6A-89DC-1369367DABE6}" dt="2021-02-02T18:36:16.606" v="221" actId="1076"/>
          <ac:spMkLst>
            <pc:docMk/>
            <pc:sldMk cId="2075128155" sldId="292"/>
            <ac:spMk id="15" creationId="{B81AB37F-CD90-435B-AC65-48CAA510420E}"/>
          </ac:spMkLst>
        </pc:spChg>
        <pc:spChg chg="mod">
          <ac:chgData name="McLeod, Caroline" userId="S::cmcleod@greatdentalplans.com::43031ce9-49a3-4f5f-9207-5c83a33945f8" providerId="AD" clId="Web-{4C1354C0-DF18-2B6A-89DC-1369367DABE6}" dt="2021-02-02T18:36:16.622" v="222" actId="1076"/>
          <ac:spMkLst>
            <pc:docMk/>
            <pc:sldMk cId="2075128155" sldId="292"/>
            <ac:spMk id="16" creationId="{AE124BA3-5DC2-42B8-8E54-9A3D5E9226D3}"/>
          </ac:spMkLst>
        </pc:spChg>
        <pc:spChg chg="mod">
          <ac:chgData name="McLeod, Caroline" userId="S::cmcleod@greatdentalplans.com::43031ce9-49a3-4f5f-9207-5c83a33945f8" providerId="AD" clId="Web-{4C1354C0-DF18-2B6A-89DC-1369367DABE6}" dt="2021-02-02T18:36:16.637" v="223" actId="1076"/>
          <ac:spMkLst>
            <pc:docMk/>
            <pc:sldMk cId="2075128155" sldId="292"/>
            <ac:spMk id="17" creationId="{CB440631-8E64-4922-AD70-BEACA287AD22}"/>
          </ac:spMkLst>
        </pc:spChg>
        <pc:spChg chg="mod">
          <ac:chgData name="McLeod, Caroline" userId="S::cmcleod@greatdentalplans.com::43031ce9-49a3-4f5f-9207-5c83a33945f8" providerId="AD" clId="Web-{4C1354C0-DF18-2B6A-89DC-1369367DABE6}" dt="2021-02-02T18:36:16.653" v="224" actId="1076"/>
          <ac:spMkLst>
            <pc:docMk/>
            <pc:sldMk cId="2075128155" sldId="292"/>
            <ac:spMk id="18" creationId="{D8759982-1589-48F6-A692-D9EFEF426CEE}"/>
          </ac:spMkLst>
        </pc:spChg>
        <pc:spChg chg="mod">
          <ac:chgData name="McLeod, Caroline" userId="S::cmcleod@greatdentalplans.com::43031ce9-49a3-4f5f-9207-5c83a33945f8" providerId="AD" clId="Web-{4C1354C0-DF18-2B6A-89DC-1369367DABE6}" dt="2021-02-02T18:36:16.669" v="225" actId="1076"/>
          <ac:spMkLst>
            <pc:docMk/>
            <pc:sldMk cId="2075128155" sldId="292"/>
            <ac:spMk id="19" creationId="{859126D6-0595-4EA3-8EDF-B5DF5131C230}"/>
          </ac:spMkLst>
        </pc:spChg>
        <pc:spChg chg="mod">
          <ac:chgData name="McLeod, Caroline" userId="S::cmcleod@greatdentalplans.com::43031ce9-49a3-4f5f-9207-5c83a33945f8" providerId="AD" clId="Web-{4C1354C0-DF18-2B6A-89DC-1369367DABE6}" dt="2021-02-02T18:36:16.684" v="226" actId="1076"/>
          <ac:spMkLst>
            <pc:docMk/>
            <pc:sldMk cId="2075128155" sldId="292"/>
            <ac:spMk id="20" creationId="{0A1306C2-B677-45F9-BE43-1015919CB2D9}"/>
          </ac:spMkLst>
        </pc:spChg>
        <pc:spChg chg="mod">
          <ac:chgData name="McLeod, Caroline" userId="S::cmcleod@greatdentalplans.com::43031ce9-49a3-4f5f-9207-5c83a33945f8" providerId="AD" clId="Web-{4C1354C0-DF18-2B6A-89DC-1369367DABE6}" dt="2021-02-02T18:36:16.700" v="227" actId="1076"/>
          <ac:spMkLst>
            <pc:docMk/>
            <pc:sldMk cId="2075128155" sldId="292"/>
            <ac:spMk id="21" creationId="{9E9652D0-7EEA-4AD1-9ECF-482E6117E578}"/>
          </ac:spMkLst>
        </pc:spChg>
        <pc:spChg chg="mod">
          <ac:chgData name="McLeod, Caroline" userId="S::cmcleod@greatdentalplans.com::43031ce9-49a3-4f5f-9207-5c83a33945f8" providerId="AD" clId="Web-{4C1354C0-DF18-2B6A-89DC-1369367DABE6}" dt="2021-02-02T18:36:16.716" v="228" actId="1076"/>
          <ac:spMkLst>
            <pc:docMk/>
            <pc:sldMk cId="2075128155" sldId="292"/>
            <ac:spMk id="22" creationId="{88657DEF-EF0A-483D-AA86-1E659508783A}"/>
          </ac:spMkLst>
        </pc:spChg>
        <pc:spChg chg="mod">
          <ac:chgData name="McLeod, Caroline" userId="S::cmcleod@greatdentalplans.com::43031ce9-49a3-4f5f-9207-5c83a33945f8" providerId="AD" clId="Web-{4C1354C0-DF18-2B6A-89DC-1369367DABE6}" dt="2021-02-02T18:36:16.731" v="229" actId="1076"/>
          <ac:spMkLst>
            <pc:docMk/>
            <pc:sldMk cId="2075128155" sldId="292"/>
            <ac:spMk id="23" creationId="{3AA68C7C-263A-4AA8-A7D7-3A23CBE13803}"/>
          </ac:spMkLst>
        </pc:spChg>
        <pc:spChg chg="mod">
          <ac:chgData name="McLeod, Caroline" userId="S::cmcleod@greatdentalplans.com::43031ce9-49a3-4f5f-9207-5c83a33945f8" providerId="AD" clId="Web-{4C1354C0-DF18-2B6A-89DC-1369367DABE6}" dt="2021-02-02T18:36:16.747" v="230" actId="1076"/>
          <ac:spMkLst>
            <pc:docMk/>
            <pc:sldMk cId="2075128155" sldId="292"/>
            <ac:spMk id="24" creationId="{DD6CC340-1E77-45B3-A842-18F73163ADA9}"/>
          </ac:spMkLst>
        </pc:spChg>
        <pc:spChg chg="mod">
          <ac:chgData name="McLeod, Caroline" userId="S::cmcleod@greatdentalplans.com::43031ce9-49a3-4f5f-9207-5c83a33945f8" providerId="AD" clId="Web-{4C1354C0-DF18-2B6A-89DC-1369367DABE6}" dt="2021-02-02T18:36:16.762" v="231" actId="1076"/>
          <ac:spMkLst>
            <pc:docMk/>
            <pc:sldMk cId="2075128155" sldId="292"/>
            <ac:spMk id="25" creationId="{8CC2E127-6443-45BB-80BC-0D25D50F7519}"/>
          </ac:spMkLst>
        </pc:spChg>
        <pc:spChg chg="mod">
          <ac:chgData name="McLeod, Caroline" userId="S::cmcleod@greatdentalplans.com::43031ce9-49a3-4f5f-9207-5c83a33945f8" providerId="AD" clId="Web-{4C1354C0-DF18-2B6A-89DC-1369367DABE6}" dt="2021-02-02T18:36:16.778" v="232" actId="1076"/>
          <ac:spMkLst>
            <pc:docMk/>
            <pc:sldMk cId="2075128155" sldId="292"/>
            <ac:spMk id="26" creationId="{29833A2B-1520-45EB-B0B7-9D2B8E5ADB47}"/>
          </ac:spMkLst>
        </pc:spChg>
        <pc:spChg chg="mod">
          <ac:chgData name="McLeod, Caroline" userId="S::cmcleod@greatdentalplans.com::43031ce9-49a3-4f5f-9207-5c83a33945f8" providerId="AD" clId="Web-{4C1354C0-DF18-2B6A-89DC-1369367DABE6}" dt="2021-02-02T18:36:16.809" v="233" actId="1076"/>
          <ac:spMkLst>
            <pc:docMk/>
            <pc:sldMk cId="2075128155" sldId="292"/>
            <ac:spMk id="27" creationId="{5F1328BC-8D9C-45BE-B2BD-A97924A63A6D}"/>
          </ac:spMkLst>
        </pc:spChg>
        <pc:spChg chg="add del mod">
          <ac:chgData name="McLeod, Caroline" userId="S::cmcleod@greatdentalplans.com::43031ce9-49a3-4f5f-9207-5c83a33945f8" providerId="AD" clId="Web-{4C1354C0-DF18-2B6A-89DC-1369367DABE6}" dt="2021-02-02T18:36:05.528" v="209"/>
          <ac:spMkLst>
            <pc:docMk/>
            <pc:sldMk cId="2075128155" sldId="292"/>
            <ac:spMk id="34" creationId="{3BD2DCC8-B9E2-48AE-943C-BAF41AFE0F97}"/>
          </ac:spMkLst>
        </pc:spChg>
        <pc:spChg chg="mod">
          <ac:chgData name="McLeod, Caroline" userId="S::cmcleod@greatdentalplans.com::43031ce9-49a3-4f5f-9207-5c83a33945f8" providerId="AD" clId="Web-{4C1354C0-DF18-2B6A-89DC-1369367DABE6}" dt="2021-02-02T18:36:16.919" v="239" actId="1076"/>
          <ac:spMkLst>
            <pc:docMk/>
            <pc:sldMk cId="2075128155" sldId="292"/>
            <ac:spMk id="37" creationId="{F768AE1C-655A-4E0B-B785-0E366502CAD6}"/>
          </ac:spMkLst>
        </pc:spChg>
        <pc:spChg chg="mod">
          <ac:chgData name="McLeod, Caroline" userId="S::cmcleod@greatdentalplans.com::43031ce9-49a3-4f5f-9207-5c83a33945f8" providerId="AD" clId="Web-{4C1354C0-DF18-2B6A-89DC-1369367DABE6}" dt="2021-02-02T18:36:16.934" v="240" actId="1076"/>
          <ac:spMkLst>
            <pc:docMk/>
            <pc:sldMk cId="2075128155" sldId="292"/>
            <ac:spMk id="38" creationId="{7102E250-F4B0-4EFD-8534-65B587720285}"/>
          </ac:spMkLst>
        </pc:spChg>
        <pc:spChg chg="mod">
          <ac:chgData name="McLeod, Caroline" userId="S::cmcleod@greatdentalplans.com::43031ce9-49a3-4f5f-9207-5c83a33945f8" providerId="AD" clId="Web-{4C1354C0-DF18-2B6A-89DC-1369367DABE6}" dt="2021-02-02T18:36:16.981" v="243" actId="1076"/>
          <ac:spMkLst>
            <pc:docMk/>
            <pc:sldMk cId="2075128155" sldId="292"/>
            <ac:spMk id="41" creationId="{DA5341D6-FF38-4920-A003-A4160D9962BE}"/>
          </ac:spMkLst>
        </pc:spChg>
        <pc:spChg chg="del">
          <ac:chgData name="McLeod, Caroline" userId="S::cmcleod@greatdentalplans.com::43031ce9-49a3-4f5f-9207-5c83a33945f8" providerId="AD" clId="Web-{4C1354C0-DF18-2B6A-89DC-1369367DABE6}" dt="2021-02-02T18:35:58.387" v="207"/>
          <ac:spMkLst>
            <pc:docMk/>
            <pc:sldMk cId="2075128155" sldId="292"/>
            <ac:spMk id="45" creationId="{FEF7F17B-D88A-4753-8CF2-751124A3D656}"/>
          </ac:spMkLst>
        </pc:spChg>
        <pc:picChg chg="del">
          <ac:chgData name="McLeod, Caroline" userId="S::cmcleod@greatdentalplans.com::43031ce9-49a3-4f5f-9207-5c83a33945f8" providerId="AD" clId="Web-{4C1354C0-DF18-2B6A-89DC-1369367DABE6}" dt="2021-02-02T18:35:59.168" v="208"/>
          <ac:picMkLst>
            <pc:docMk/>
            <pc:sldMk cId="2075128155" sldId="292"/>
            <ac:picMk id="3" creationId="{54179603-F4A2-4125-8990-8EDFCBF4E291}"/>
          </ac:picMkLst>
        </pc:picChg>
        <pc:cxnChg chg="mod">
          <ac:chgData name="McLeod, Caroline" userId="S::cmcleod@greatdentalplans.com::43031ce9-49a3-4f5f-9207-5c83a33945f8" providerId="AD" clId="Web-{4C1354C0-DF18-2B6A-89DC-1369367DABE6}" dt="2021-02-02T18:36:16.450" v="211" actId="1076"/>
          <ac:cxnSpMkLst>
            <pc:docMk/>
            <pc:sldMk cId="2075128155" sldId="292"/>
            <ac:cxnSpMk id="4" creationId="{94700C9B-B268-421A-8EA5-F55B10CCE28A}"/>
          </ac:cxnSpMkLst>
        </pc:cxnChg>
        <pc:cxnChg chg="mod">
          <ac:chgData name="McLeod, Caroline" userId="S::cmcleod@greatdentalplans.com::43031ce9-49a3-4f5f-9207-5c83a33945f8" providerId="AD" clId="Web-{4C1354C0-DF18-2B6A-89DC-1369367DABE6}" dt="2021-02-02T18:36:16.465" v="212" actId="1076"/>
          <ac:cxnSpMkLst>
            <pc:docMk/>
            <pc:sldMk cId="2075128155" sldId="292"/>
            <ac:cxnSpMk id="5" creationId="{9F4187C4-1805-436B-9896-6E16904095CC}"/>
          </ac:cxnSpMkLst>
        </pc:cxnChg>
        <pc:cxnChg chg="mod">
          <ac:chgData name="McLeod, Caroline" userId="S::cmcleod@greatdentalplans.com::43031ce9-49a3-4f5f-9207-5c83a33945f8" providerId="AD" clId="Web-{4C1354C0-DF18-2B6A-89DC-1369367DABE6}" dt="2021-02-02T18:36:16.825" v="234" actId="1076"/>
          <ac:cxnSpMkLst>
            <pc:docMk/>
            <pc:sldMk cId="2075128155" sldId="292"/>
            <ac:cxnSpMk id="28" creationId="{56180A23-A740-4683-94DC-052BE1A5A3E8}"/>
          </ac:cxnSpMkLst>
        </pc:cxnChg>
        <pc:cxnChg chg="mod">
          <ac:chgData name="McLeod, Caroline" userId="S::cmcleod@greatdentalplans.com::43031ce9-49a3-4f5f-9207-5c83a33945f8" providerId="AD" clId="Web-{4C1354C0-DF18-2B6A-89DC-1369367DABE6}" dt="2021-02-02T18:36:16.841" v="235" actId="1076"/>
          <ac:cxnSpMkLst>
            <pc:docMk/>
            <pc:sldMk cId="2075128155" sldId="292"/>
            <ac:cxnSpMk id="30" creationId="{85367D22-2377-4D04-86C2-E9733D8D5859}"/>
          </ac:cxnSpMkLst>
        </pc:cxnChg>
        <pc:cxnChg chg="mod">
          <ac:chgData name="McLeod, Caroline" userId="S::cmcleod@greatdentalplans.com::43031ce9-49a3-4f5f-9207-5c83a33945f8" providerId="AD" clId="Web-{4C1354C0-DF18-2B6A-89DC-1369367DABE6}" dt="2021-02-02T18:36:16.856" v="236" actId="1076"/>
          <ac:cxnSpMkLst>
            <pc:docMk/>
            <pc:sldMk cId="2075128155" sldId="292"/>
            <ac:cxnSpMk id="31" creationId="{8C4C2D64-1B78-4783-B8B3-3F0F7116EC01}"/>
          </ac:cxnSpMkLst>
        </pc:cxnChg>
        <pc:cxnChg chg="mod">
          <ac:chgData name="McLeod, Caroline" userId="S::cmcleod@greatdentalplans.com::43031ce9-49a3-4f5f-9207-5c83a33945f8" providerId="AD" clId="Web-{4C1354C0-DF18-2B6A-89DC-1369367DABE6}" dt="2021-02-02T18:36:16.872" v="237" actId="1076"/>
          <ac:cxnSpMkLst>
            <pc:docMk/>
            <pc:sldMk cId="2075128155" sldId="292"/>
            <ac:cxnSpMk id="32" creationId="{4F3015ED-B58D-48D1-A9E7-314772158B24}"/>
          </ac:cxnSpMkLst>
        </pc:cxnChg>
        <pc:cxnChg chg="mod">
          <ac:chgData name="McLeod, Caroline" userId="S::cmcleod@greatdentalplans.com::43031ce9-49a3-4f5f-9207-5c83a33945f8" providerId="AD" clId="Web-{4C1354C0-DF18-2B6A-89DC-1369367DABE6}" dt="2021-02-02T18:36:16.887" v="238" actId="1076"/>
          <ac:cxnSpMkLst>
            <pc:docMk/>
            <pc:sldMk cId="2075128155" sldId="292"/>
            <ac:cxnSpMk id="33" creationId="{883D7913-A7A6-40C1-915B-8BFB5EA47A2E}"/>
          </ac:cxnSpMkLst>
        </pc:cxnChg>
        <pc:cxnChg chg="mod">
          <ac:chgData name="McLeod, Caroline" userId="S::cmcleod@greatdentalplans.com::43031ce9-49a3-4f5f-9207-5c83a33945f8" providerId="AD" clId="Web-{4C1354C0-DF18-2B6A-89DC-1369367DABE6}" dt="2021-02-02T18:36:16.950" v="241" actId="1076"/>
          <ac:cxnSpMkLst>
            <pc:docMk/>
            <pc:sldMk cId="2075128155" sldId="292"/>
            <ac:cxnSpMk id="39" creationId="{1D6FF747-63B3-414B-8DF4-2B5400C2A3FC}"/>
          </ac:cxnSpMkLst>
        </pc:cxnChg>
        <pc:cxnChg chg="mod">
          <ac:chgData name="McLeod, Caroline" userId="S::cmcleod@greatdentalplans.com::43031ce9-49a3-4f5f-9207-5c83a33945f8" providerId="AD" clId="Web-{4C1354C0-DF18-2B6A-89DC-1369367DABE6}" dt="2021-02-02T18:36:16.966" v="242" actId="1076"/>
          <ac:cxnSpMkLst>
            <pc:docMk/>
            <pc:sldMk cId="2075128155" sldId="292"/>
            <ac:cxnSpMk id="40" creationId="{A339A679-1AC3-4F79-881B-DC648B114A2C}"/>
          </ac:cxnSpMkLst>
        </pc:cxnChg>
        <pc:cxnChg chg="mod">
          <ac:chgData name="McLeod, Caroline" userId="S::cmcleod@greatdentalplans.com::43031ce9-49a3-4f5f-9207-5c83a33945f8" providerId="AD" clId="Web-{4C1354C0-DF18-2B6A-89DC-1369367DABE6}" dt="2021-02-02T18:36:16.997" v="244" actId="1076"/>
          <ac:cxnSpMkLst>
            <pc:docMk/>
            <pc:sldMk cId="2075128155" sldId="292"/>
            <ac:cxnSpMk id="48" creationId="{8C4058D2-B1F2-48D3-8DDF-F54AA0062EBE}"/>
          </ac:cxnSpMkLst>
        </pc:cxnChg>
      </pc:sldChg>
    </pc:docChg>
  </pc:docChgLst>
  <pc:docChgLst>
    <pc:chgData name="McLeod, Caroline" userId="S::cmcleod@greatdentalplans.com::43031ce9-49a3-4f5f-9207-5c83a33945f8" providerId="AD" clId="Web-{DDAC3CD0-7F4F-B2F1-44C7-07414EA6E1AE}"/>
    <pc:docChg chg="addSld delSld modSld addMainMaster">
      <pc:chgData name="McLeod, Caroline" userId="S::cmcleod@greatdentalplans.com::43031ce9-49a3-4f5f-9207-5c83a33945f8" providerId="AD" clId="Web-{DDAC3CD0-7F4F-B2F1-44C7-07414EA6E1AE}" dt="2021-02-03T19:49:53.274" v="65" actId="1076"/>
      <pc:docMkLst>
        <pc:docMk/>
      </pc:docMkLst>
      <pc:sldChg chg="addSp delSp modSp del">
        <pc:chgData name="McLeod, Caroline" userId="S::cmcleod@greatdentalplans.com::43031ce9-49a3-4f5f-9207-5c83a33945f8" providerId="AD" clId="Web-{DDAC3CD0-7F4F-B2F1-44C7-07414EA6E1AE}" dt="2021-02-03T19:43:40.836" v="3"/>
        <pc:sldMkLst>
          <pc:docMk/>
          <pc:sldMk cId="2153171638" sldId="277"/>
        </pc:sldMkLst>
        <pc:spChg chg="del">
          <ac:chgData name="McLeod, Caroline" userId="S::cmcleod@greatdentalplans.com::43031ce9-49a3-4f5f-9207-5c83a33945f8" providerId="AD" clId="Web-{DDAC3CD0-7F4F-B2F1-44C7-07414EA6E1AE}" dt="2021-02-03T19:42:25.305" v="0"/>
          <ac:spMkLst>
            <pc:docMk/>
            <pc:sldMk cId="2153171638" sldId="277"/>
            <ac:spMk id="3" creationId="{777BA8D7-D8ED-4E75-A7E3-FAD9386AD960}"/>
          </ac:spMkLst>
        </pc:spChg>
        <pc:spChg chg="add mod">
          <ac:chgData name="McLeod, Caroline" userId="S::cmcleod@greatdentalplans.com::43031ce9-49a3-4f5f-9207-5c83a33945f8" providerId="AD" clId="Web-{DDAC3CD0-7F4F-B2F1-44C7-07414EA6E1AE}" dt="2021-02-03T19:42:25.305" v="0"/>
          <ac:spMkLst>
            <pc:docMk/>
            <pc:sldMk cId="2153171638" sldId="277"/>
            <ac:spMk id="5" creationId="{95768F17-1C6F-4BC3-AD09-300126712EF6}"/>
          </ac:spMkLst>
        </pc:spChg>
      </pc:sldChg>
      <pc:sldChg chg="addSp delSp modSp add">
        <pc:chgData name="McLeod, Caroline" userId="S::cmcleod@greatdentalplans.com::43031ce9-49a3-4f5f-9207-5c83a33945f8" providerId="AD" clId="Web-{DDAC3CD0-7F4F-B2F1-44C7-07414EA6E1AE}" dt="2021-02-03T19:49:53.274" v="65" actId="1076"/>
        <pc:sldMkLst>
          <pc:docMk/>
          <pc:sldMk cId="142826157" sldId="298"/>
        </pc:sldMkLst>
        <pc:spChg chg="mod">
          <ac:chgData name="McLeod, Caroline" userId="S::cmcleod@greatdentalplans.com::43031ce9-49a3-4f5f-9207-5c83a33945f8" providerId="AD" clId="Web-{DDAC3CD0-7F4F-B2F1-44C7-07414EA6E1AE}" dt="2021-02-03T19:47:47.383" v="52" actId="20577"/>
          <ac:spMkLst>
            <pc:docMk/>
            <pc:sldMk cId="142826157" sldId="298"/>
            <ac:spMk id="13" creationId="{494FDC3F-CDD6-40C1-9FB9-0D0C6102BA4B}"/>
          </ac:spMkLst>
        </pc:spChg>
        <pc:spChg chg="mod">
          <ac:chgData name="McLeod, Caroline" userId="S::cmcleod@greatdentalplans.com::43031ce9-49a3-4f5f-9207-5c83a33945f8" providerId="AD" clId="Web-{DDAC3CD0-7F4F-B2F1-44C7-07414EA6E1AE}" dt="2021-02-03T19:48:22.070" v="58" actId="1076"/>
          <ac:spMkLst>
            <pc:docMk/>
            <pc:sldMk cId="142826157" sldId="298"/>
            <ac:spMk id="14" creationId="{2F3426DB-3714-495C-A992-7878CDB47940}"/>
          </ac:spMkLst>
        </pc:spChg>
        <pc:spChg chg="del">
          <ac:chgData name="McLeod, Caroline" userId="S::cmcleod@greatdentalplans.com::43031ce9-49a3-4f5f-9207-5c83a33945f8" providerId="AD" clId="Web-{DDAC3CD0-7F4F-B2F1-44C7-07414EA6E1AE}" dt="2021-02-03T19:47:58.195" v="53"/>
          <ac:spMkLst>
            <pc:docMk/>
            <pc:sldMk cId="142826157" sldId="298"/>
            <ac:spMk id="15" creationId="{D5B362D8-FD88-4EA6-9DE7-600AD8A7286B}"/>
          </ac:spMkLst>
        </pc:spChg>
        <pc:spChg chg="mod">
          <ac:chgData name="McLeod, Caroline" userId="S::cmcleod@greatdentalplans.com::43031ce9-49a3-4f5f-9207-5c83a33945f8" providerId="AD" clId="Web-{DDAC3CD0-7F4F-B2F1-44C7-07414EA6E1AE}" dt="2021-02-03T19:48:14.086" v="55" actId="1076"/>
          <ac:spMkLst>
            <pc:docMk/>
            <pc:sldMk cId="142826157" sldId="298"/>
            <ac:spMk id="16" creationId="{30C80741-E2FD-44E3-9126-FD78CC9A446F}"/>
          </ac:spMkLst>
        </pc:spChg>
        <pc:picChg chg="add del mod">
          <ac:chgData name="McLeod, Caroline" userId="S::cmcleod@greatdentalplans.com::43031ce9-49a3-4f5f-9207-5c83a33945f8" providerId="AD" clId="Web-{DDAC3CD0-7F4F-B2F1-44C7-07414EA6E1AE}" dt="2021-02-03T19:49:25.867" v="61"/>
          <ac:picMkLst>
            <pc:docMk/>
            <pc:sldMk cId="142826157" sldId="298"/>
            <ac:picMk id="2" creationId="{8E036197-311A-4B5A-A96F-6669FCF07633}"/>
          </ac:picMkLst>
        </pc:picChg>
        <pc:picChg chg="add mod">
          <ac:chgData name="McLeod, Caroline" userId="S::cmcleod@greatdentalplans.com::43031ce9-49a3-4f5f-9207-5c83a33945f8" providerId="AD" clId="Web-{DDAC3CD0-7F4F-B2F1-44C7-07414EA6E1AE}" dt="2021-02-03T19:49:53.274" v="65" actId="1076"/>
          <ac:picMkLst>
            <pc:docMk/>
            <pc:sldMk cId="142826157" sldId="298"/>
            <ac:picMk id="3" creationId="{1A1AEBE6-B1E2-4D53-A8EF-166254F3857F}"/>
          </ac:picMkLst>
        </pc:picChg>
        <pc:picChg chg="mod">
          <ac:chgData name="McLeod, Caroline" userId="S::cmcleod@greatdentalplans.com::43031ce9-49a3-4f5f-9207-5c83a33945f8" providerId="AD" clId="Web-{DDAC3CD0-7F4F-B2F1-44C7-07414EA6E1AE}" dt="2021-02-03T19:48:14.102" v="56" actId="1076"/>
          <ac:picMkLst>
            <pc:docMk/>
            <pc:sldMk cId="142826157" sldId="298"/>
            <ac:picMk id="17" creationId="{5F67B694-8A80-4C93-A64A-C213BE71DC4E}"/>
          </ac:picMkLst>
        </pc:picChg>
        <pc:picChg chg="del mod">
          <ac:chgData name="McLeod, Caroline" userId="S::cmcleod@greatdentalplans.com::43031ce9-49a3-4f5f-9207-5c83a33945f8" providerId="AD" clId="Web-{DDAC3CD0-7F4F-B2F1-44C7-07414EA6E1AE}" dt="2021-02-03T19:48:26.336" v="59"/>
          <ac:picMkLst>
            <pc:docMk/>
            <pc:sldMk cId="142826157" sldId="298"/>
            <ac:picMk id="23" creationId="{A4A751CC-B449-4455-86B3-E345F222B226}"/>
          </ac:picMkLst>
        </pc:picChg>
        <pc:picChg chg="del">
          <ac:chgData name="McLeod, Caroline" userId="S::cmcleod@greatdentalplans.com::43031ce9-49a3-4f5f-9207-5c83a33945f8" providerId="AD" clId="Web-{DDAC3CD0-7F4F-B2F1-44C7-07414EA6E1AE}" dt="2021-02-03T19:48:00.367" v="54"/>
          <ac:picMkLst>
            <pc:docMk/>
            <pc:sldMk cId="142826157" sldId="298"/>
            <ac:picMk id="24" creationId="{C9E9846B-2521-41A7-908B-C9E64DEB7993}"/>
          </ac:picMkLst>
        </pc:picChg>
      </pc:sldChg>
      <pc:sldChg chg="addSp delSp modSp add del">
        <pc:chgData name="McLeod, Caroline" userId="S::cmcleod@greatdentalplans.com::43031ce9-49a3-4f5f-9207-5c83a33945f8" providerId="AD" clId="Web-{DDAC3CD0-7F4F-B2F1-44C7-07414EA6E1AE}" dt="2021-02-03T19:46:48.774" v="43"/>
        <pc:sldMkLst>
          <pc:docMk/>
          <pc:sldMk cId="4194849494" sldId="298"/>
        </pc:sldMkLst>
        <pc:spChg chg="mod">
          <ac:chgData name="McLeod, Caroline" userId="S::cmcleod@greatdentalplans.com::43031ce9-49a3-4f5f-9207-5c83a33945f8" providerId="AD" clId="Web-{DDAC3CD0-7F4F-B2F1-44C7-07414EA6E1AE}" dt="2021-02-03T19:43:39.508" v="2" actId="20577"/>
          <ac:spMkLst>
            <pc:docMk/>
            <pc:sldMk cId="4194849494" sldId="298"/>
            <ac:spMk id="2" creationId="{97094DE5-4C9E-3E4E-8355-96C094C01686}"/>
          </ac:spMkLst>
        </pc:spChg>
        <pc:graphicFrameChg chg="add mod modGraphic">
          <ac:chgData name="McLeod, Caroline" userId="S::cmcleod@greatdentalplans.com::43031ce9-49a3-4f5f-9207-5c83a33945f8" providerId="AD" clId="Web-{DDAC3CD0-7F4F-B2F1-44C7-07414EA6E1AE}" dt="2021-02-03T19:45:38.992" v="42"/>
          <ac:graphicFrameMkLst>
            <pc:docMk/>
            <pc:sldMk cId="4194849494" sldId="298"/>
            <ac:graphicFrameMk id="3" creationId="{4C54AEA9-60C9-402D-BE31-03D73FF2EB56}"/>
          </ac:graphicFrameMkLst>
        </pc:graphicFrameChg>
        <pc:graphicFrameChg chg="del">
          <ac:chgData name="McLeod, Caroline" userId="S::cmcleod@greatdentalplans.com::43031ce9-49a3-4f5f-9207-5c83a33945f8" providerId="AD" clId="Web-{DDAC3CD0-7F4F-B2F1-44C7-07414EA6E1AE}" dt="2021-02-03T19:44:00.133" v="4"/>
          <ac:graphicFrameMkLst>
            <pc:docMk/>
            <pc:sldMk cId="4194849494" sldId="298"/>
            <ac:graphicFrameMk id="5" creationId="{D7440383-88F4-0D49-9294-4F33E1B0713F}"/>
          </ac:graphicFrameMkLst>
        </pc:graphicFrameChg>
        <pc:graphicFrameChg chg="add mod modGraphic">
          <ac:chgData name="McLeod, Caroline" userId="S::cmcleod@greatdentalplans.com::43031ce9-49a3-4f5f-9207-5c83a33945f8" providerId="AD" clId="Web-{DDAC3CD0-7F4F-B2F1-44C7-07414EA6E1AE}" dt="2021-02-03T19:45:21.086" v="32" actId="1076"/>
          <ac:graphicFrameMkLst>
            <pc:docMk/>
            <pc:sldMk cId="4194849494" sldId="298"/>
            <ac:graphicFrameMk id="6" creationId="{D54A4903-3D6E-47E8-AC23-D59090AEB9B0}"/>
          </ac:graphicFrameMkLst>
        </pc:graphicFrameChg>
      </pc:sldChg>
      <pc:sldMasterChg chg="add addSldLayout">
        <pc:chgData name="McLeod, Caroline" userId="S::cmcleod@greatdentalplans.com::43031ce9-49a3-4f5f-9207-5c83a33945f8" providerId="AD" clId="Web-{DDAC3CD0-7F4F-B2F1-44C7-07414EA6E1AE}" dt="2021-02-03T19:42:28.649" v="1"/>
        <pc:sldMasterMkLst>
          <pc:docMk/>
          <pc:sldMasterMk cId="565494561" sldId="2147483660"/>
        </pc:sldMasterMkLst>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1675792659" sldId="2147483661"/>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491602365" sldId="2147483662"/>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2791140849" sldId="2147483663"/>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1326244109" sldId="2147483664"/>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545450086" sldId="2147483665"/>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96808562" sldId="2147483666"/>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690900516" sldId="2147483667"/>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555113257" sldId="2147483668"/>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188720367" sldId="2147483669"/>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2755222131" sldId="2147483670"/>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2144388242" sldId="2147483671"/>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25767523" sldId="2147483672"/>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520552646" sldId="2147483673"/>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633872127" sldId="2147483674"/>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1921855016" sldId="2147483675"/>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57218999" sldId="2147483702"/>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2520676411" sldId="2147483703"/>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487749095" sldId="2147483704"/>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145145767" sldId="2147483705"/>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1663561603" sldId="2147483706"/>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329614318" sldId="2147483707"/>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4271513604" sldId="2147483708"/>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501798735" sldId="2147483709"/>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1522749501" sldId="2147483918"/>
          </pc:sldLayoutMkLst>
        </pc:sldLayoutChg>
        <pc:sldLayoutChg chg="add">
          <pc:chgData name="McLeod, Caroline" userId="S::cmcleod@greatdentalplans.com::43031ce9-49a3-4f5f-9207-5c83a33945f8" providerId="AD" clId="Web-{DDAC3CD0-7F4F-B2F1-44C7-07414EA6E1AE}" dt="2021-02-03T19:42:28.649" v="1"/>
          <pc:sldLayoutMkLst>
            <pc:docMk/>
            <pc:sldMasterMk cId="565494561" sldId="2147483660"/>
            <pc:sldLayoutMk cId="3731207280" sldId="2147483922"/>
          </pc:sldLayoutMkLst>
        </pc:sldLayoutChg>
      </pc:sldMasterChg>
    </pc:docChg>
  </pc:docChgLst>
  <pc:docChgLst>
    <pc:chgData name="McLeod, Caroline" userId="S::cmcleod@greatdentalplans.com::43031ce9-49a3-4f5f-9207-5c83a33945f8" providerId="AD" clId="Web-{0B535A0F-BBBF-11C3-8BAA-6B1315158241}"/>
    <pc:docChg chg="addSld delSld modSld">
      <pc:chgData name="McLeod, Caroline" userId="S::cmcleod@greatdentalplans.com::43031ce9-49a3-4f5f-9207-5c83a33945f8" providerId="AD" clId="Web-{0B535A0F-BBBF-11C3-8BAA-6B1315158241}" dt="2021-02-03T20:59:24.301" v="492" actId="20577"/>
      <pc:docMkLst>
        <pc:docMk/>
      </pc:docMkLst>
      <pc:sldChg chg="modSp">
        <pc:chgData name="McLeod, Caroline" userId="S::cmcleod@greatdentalplans.com::43031ce9-49a3-4f5f-9207-5c83a33945f8" providerId="AD" clId="Web-{0B535A0F-BBBF-11C3-8BAA-6B1315158241}" dt="2021-02-03T20:56:07.052" v="481"/>
        <pc:sldMkLst>
          <pc:docMk/>
          <pc:sldMk cId="3915446189" sldId="266"/>
        </pc:sldMkLst>
        <pc:picChg chg="mod">
          <ac:chgData name="McLeod, Caroline" userId="S::cmcleod@greatdentalplans.com::43031ce9-49a3-4f5f-9207-5c83a33945f8" providerId="AD" clId="Web-{0B535A0F-BBBF-11C3-8BAA-6B1315158241}" dt="2021-02-03T20:56:07.052" v="481"/>
          <ac:picMkLst>
            <pc:docMk/>
            <pc:sldMk cId="3915446189" sldId="266"/>
            <ac:picMk id="5" creationId="{2FE323A5-73CD-4EB5-A611-8223B12FC0D8}"/>
          </ac:picMkLst>
        </pc:picChg>
      </pc:sldChg>
      <pc:sldChg chg="modSp">
        <pc:chgData name="McLeod, Caroline" userId="S::cmcleod@greatdentalplans.com::43031ce9-49a3-4f5f-9207-5c83a33945f8" providerId="AD" clId="Web-{0B535A0F-BBBF-11C3-8BAA-6B1315158241}" dt="2021-02-03T20:57:13.786" v="487"/>
        <pc:sldMkLst>
          <pc:docMk/>
          <pc:sldMk cId="439320483" sldId="267"/>
        </pc:sldMkLst>
        <pc:picChg chg="mod modCrop">
          <ac:chgData name="McLeod, Caroline" userId="S::cmcleod@greatdentalplans.com::43031ce9-49a3-4f5f-9207-5c83a33945f8" providerId="AD" clId="Web-{0B535A0F-BBBF-11C3-8BAA-6B1315158241}" dt="2021-02-03T20:57:13.786" v="487"/>
          <ac:picMkLst>
            <pc:docMk/>
            <pc:sldMk cId="439320483" sldId="267"/>
            <ac:picMk id="6" creationId="{96BF7EBF-2361-44EA-920A-19F8519191AA}"/>
          </ac:picMkLst>
        </pc:picChg>
      </pc:sldChg>
      <pc:sldChg chg="modSp">
        <pc:chgData name="McLeod, Caroline" userId="S::cmcleod@greatdentalplans.com::43031ce9-49a3-4f5f-9207-5c83a33945f8" providerId="AD" clId="Web-{0B535A0F-BBBF-11C3-8BAA-6B1315158241}" dt="2021-02-03T20:56:45.677" v="485"/>
        <pc:sldMkLst>
          <pc:docMk/>
          <pc:sldMk cId="696052771" sldId="272"/>
        </pc:sldMkLst>
        <pc:spChg chg="mod">
          <ac:chgData name="McLeod, Caroline" userId="S::cmcleod@greatdentalplans.com::43031ce9-49a3-4f5f-9207-5c83a33945f8" providerId="AD" clId="Web-{0B535A0F-BBBF-11C3-8BAA-6B1315158241}" dt="2021-02-03T20:56:45.677" v="485"/>
          <ac:spMkLst>
            <pc:docMk/>
            <pc:sldMk cId="696052771" sldId="272"/>
            <ac:spMk id="5" creationId="{C8338EC5-949D-45A0-B593-7FD9013D5B44}"/>
          </ac:spMkLst>
        </pc:spChg>
      </pc:sldChg>
      <pc:sldChg chg="modSp">
        <pc:chgData name="McLeod, Caroline" userId="S::cmcleod@greatdentalplans.com::43031ce9-49a3-4f5f-9207-5c83a33945f8" providerId="AD" clId="Web-{0B535A0F-BBBF-11C3-8BAA-6B1315158241}" dt="2021-02-03T20:55:40.849" v="478" actId="20577"/>
        <pc:sldMkLst>
          <pc:docMk/>
          <pc:sldMk cId="1279239907" sldId="276"/>
        </pc:sldMkLst>
        <pc:spChg chg="mod">
          <ac:chgData name="McLeod, Caroline" userId="S::cmcleod@greatdentalplans.com::43031ce9-49a3-4f5f-9207-5c83a33945f8" providerId="AD" clId="Web-{0B535A0F-BBBF-11C3-8BAA-6B1315158241}" dt="2021-02-03T20:55:40.849" v="478" actId="20577"/>
          <ac:spMkLst>
            <pc:docMk/>
            <pc:sldMk cId="1279239907" sldId="276"/>
            <ac:spMk id="7" creationId="{92865F1C-B2FE-48DB-858F-63484B294C4B}"/>
          </ac:spMkLst>
        </pc:spChg>
      </pc:sldChg>
      <pc:sldChg chg="addSp delSp modSp addCm modCm modNotes">
        <pc:chgData name="McLeod, Caroline" userId="S::cmcleod@greatdentalplans.com::43031ce9-49a3-4f5f-9207-5c83a33945f8" providerId="AD" clId="Web-{0B535A0F-BBBF-11C3-8BAA-6B1315158241}" dt="2021-02-03T20:59:24.301" v="492" actId="20577"/>
        <pc:sldMkLst>
          <pc:docMk/>
          <pc:sldMk cId="3127225944" sldId="292"/>
        </pc:sldMkLst>
        <pc:spChg chg="del">
          <ac:chgData name="McLeod, Caroline" userId="S::cmcleod@greatdentalplans.com::43031ce9-49a3-4f5f-9207-5c83a33945f8" providerId="AD" clId="Web-{0B535A0F-BBBF-11C3-8BAA-6B1315158241}" dt="2021-02-03T20:36:03.341" v="0"/>
          <ac:spMkLst>
            <pc:docMk/>
            <pc:sldMk cId="3127225944" sldId="292"/>
            <ac:spMk id="2" creationId="{C0ED1B09-A36B-4486-B16E-3AA52CB3E3A8}"/>
          </ac:spMkLst>
        </pc:spChg>
        <pc:spChg chg="mod">
          <ac:chgData name="McLeod, Caroline" userId="S::cmcleod@greatdentalplans.com::43031ce9-49a3-4f5f-9207-5c83a33945f8" providerId="AD" clId="Web-{0B535A0F-BBBF-11C3-8BAA-6B1315158241}" dt="2021-02-03T20:36:19.278" v="12" actId="20577"/>
          <ac:spMkLst>
            <pc:docMk/>
            <pc:sldMk cId="3127225944" sldId="292"/>
            <ac:spMk id="4" creationId="{DDA7DCFA-6C1E-4C07-8A74-EA082162D80D}"/>
          </ac:spMkLst>
        </pc:spChg>
        <pc:spChg chg="mod">
          <ac:chgData name="McLeod, Caroline" userId="S::cmcleod@greatdentalplans.com::43031ce9-49a3-4f5f-9207-5c83a33945f8" providerId="AD" clId="Web-{0B535A0F-BBBF-11C3-8BAA-6B1315158241}" dt="2021-02-03T20:59:24.301" v="492" actId="20577"/>
          <ac:spMkLst>
            <pc:docMk/>
            <pc:sldMk cId="3127225944" sldId="292"/>
            <ac:spMk id="5" creationId="{CF2A3635-F10F-4B50-A9D8-85AB78BA58C1}"/>
          </ac:spMkLst>
        </pc:spChg>
        <pc:picChg chg="add mod">
          <ac:chgData name="McLeod, Caroline" userId="S::cmcleod@greatdentalplans.com::43031ce9-49a3-4f5f-9207-5c83a33945f8" providerId="AD" clId="Web-{0B535A0F-BBBF-11C3-8BAA-6B1315158241}" dt="2021-02-03T20:36:21.840" v="13" actId="1076"/>
          <ac:picMkLst>
            <pc:docMk/>
            <pc:sldMk cId="3127225944" sldId="292"/>
            <ac:picMk id="3" creationId="{BCE9798F-168A-43E8-8FFB-FFC2EC92AF4D}"/>
          </ac:picMkLst>
        </pc:picChg>
      </pc:sldChg>
      <pc:sldChg chg="modSp">
        <pc:chgData name="McLeod, Caroline" userId="S::cmcleod@greatdentalplans.com::43031ce9-49a3-4f5f-9207-5c83a33945f8" providerId="AD" clId="Web-{0B535A0F-BBBF-11C3-8BAA-6B1315158241}" dt="2021-02-03T20:56:35.817" v="483"/>
        <pc:sldMkLst>
          <pc:docMk/>
          <pc:sldMk cId="3765382948" sldId="295"/>
        </pc:sldMkLst>
        <pc:spChg chg="mod">
          <ac:chgData name="McLeod, Caroline" userId="S::cmcleod@greatdentalplans.com::43031ce9-49a3-4f5f-9207-5c83a33945f8" providerId="AD" clId="Web-{0B535A0F-BBBF-11C3-8BAA-6B1315158241}" dt="2021-02-03T20:56:35.817" v="483"/>
          <ac:spMkLst>
            <pc:docMk/>
            <pc:sldMk cId="3765382948" sldId="295"/>
            <ac:spMk id="6" creationId="{9BE2F00D-CAA1-46EF-8C67-BFF8B2020878}"/>
          </ac:spMkLst>
        </pc:spChg>
      </pc:sldChg>
      <pc:sldChg chg="addSp delSp modSp">
        <pc:chgData name="McLeod, Caroline" userId="S::cmcleod@greatdentalplans.com::43031ce9-49a3-4f5f-9207-5c83a33945f8" providerId="AD" clId="Web-{0B535A0F-BBBF-11C3-8BAA-6B1315158241}" dt="2021-02-03T20:55:19.740" v="473"/>
        <pc:sldMkLst>
          <pc:docMk/>
          <pc:sldMk cId="4246495997" sldId="296"/>
        </pc:sldMkLst>
        <pc:spChg chg="mod">
          <ac:chgData name="McLeod, Caroline" userId="S::cmcleod@greatdentalplans.com::43031ce9-49a3-4f5f-9207-5c83a33945f8" providerId="AD" clId="Web-{0B535A0F-BBBF-11C3-8BAA-6B1315158241}" dt="2021-02-03T20:47:50.727" v="387" actId="20577"/>
          <ac:spMkLst>
            <pc:docMk/>
            <pc:sldMk cId="4246495997" sldId="296"/>
            <ac:spMk id="2" creationId="{28BA8BD2-6808-4DF4-820F-10E72FF1198B}"/>
          </ac:spMkLst>
        </pc:spChg>
        <pc:spChg chg="del">
          <ac:chgData name="McLeod, Caroline" userId="S::cmcleod@greatdentalplans.com::43031ce9-49a3-4f5f-9207-5c83a33945f8" providerId="AD" clId="Web-{0B535A0F-BBBF-11C3-8BAA-6B1315158241}" dt="2021-02-03T20:47:52.477" v="388"/>
          <ac:spMkLst>
            <pc:docMk/>
            <pc:sldMk cId="4246495997" sldId="296"/>
            <ac:spMk id="3" creationId="{455DB319-454E-4F07-BF05-E97EF583AEAE}"/>
          </ac:spMkLst>
        </pc:spChg>
        <pc:spChg chg="add mod">
          <ac:chgData name="McLeod, Caroline" userId="S::cmcleod@greatdentalplans.com::43031ce9-49a3-4f5f-9207-5c83a33945f8" providerId="AD" clId="Web-{0B535A0F-BBBF-11C3-8BAA-6B1315158241}" dt="2021-02-03T20:55:19.740" v="473"/>
          <ac:spMkLst>
            <pc:docMk/>
            <pc:sldMk cId="4246495997" sldId="296"/>
            <ac:spMk id="6" creationId="{EC2F4F8B-DE94-413D-AD94-799740887C54}"/>
          </ac:spMkLst>
        </pc:spChg>
        <pc:picChg chg="add del mod">
          <ac:chgData name="McLeod, Caroline" userId="S::cmcleod@greatdentalplans.com::43031ce9-49a3-4f5f-9207-5c83a33945f8" providerId="AD" clId="Web-{0B535A0F-BBBF-11C3-8BAA-6B1315158241}" dt="2021-02-03T20:49:09.461" v="422"/>
          <ac:picMkLst>
            <pc:docMk/>
            <pc:sldMk cId="4246495997" sldId="296"/>
            <ac:picMk id="7" creationId="{33BC6691-D5C7-4985-853E-C360A21345CB}"/>
          </ac:picMkLst>
        </pc:picChg>
        <pc:picChg chg="add del mod">
          <ac:chgData name="McLeod, Caroline" userId="S::cmcleod@greatdentalplans.com::43031ce9-49a3-4f5f-9207-5c83a33945f8" providerId="AD" clId="Web-{0B535A0F-BBBF-11C3-8BAA-6B1315158241}" dt="2021-02-03T20:49:20.695" v="426"/>
          <ac:picMkLst>
            <pc:docMk/>
            <pc:sldMk cId="4246495997" sldId="296"/>
            <ac:picMk id="8" creationId="{B2278059-DF67-47C0-BC4D-07CCCCD9ED4A}"/>
          </ac:picMkLst>
        </pc:picChg>
        <pc:picChg chg="add del mod">
          <ac:chgData name="McLeod, Caroline" userId="S::cmcleod@greatdentalplans.com::43031ce9-49a3-4f5f-9207-5c83a33945f8" providerId="AD" clId="Web-{0B535A0F-BBBF-11C3-8BAA-6B1315158241}" dt="2021-02-03T20:49:47.476" v="429"/>
          <ac:picMkLst>
            <pc:docMk/>
            <pc:sldMk cId="4246495997" sldId="296"/>
            <ac:picMk id="9" creationId="{D20C9134-F08D-4F1C-B821-6EBA9156A0E7}"/>
          </ac:picMkLst>
        </pc:picChg>
        <pc:picChg chg="add del mod">
          <ac:chgData name="McLeod, Caroline" userId="S::cmcleod@greatdentalplans.com::43031ce9-49a3-4f5f-9207-5c83a33945f8" providerId="AD" clId="Web-{0B535A0F-BBBF-11C3-8BAA-6B1315158241}" dt="2021-02-03T20:49:57.663" v="432"/>
          <ac:picMkLst>
            <pc:docMk/>
            <pc:sldMk cId="4246495997" sldId="296"/>
            <ac:picMk id="10" creationId="{8802D82E-E85C-49D4-B044-7E2D94EB220A}"/>
          </ac:picMkLst>
        </pc:picChg>
        <pc:picChg chg="add del mod">
          <ac:chgData name="McLeod, Caroline" userId="S::cmcleod@greatdentalplans.com::43031ce9-49a3-4f5f-9207-5c83a33945f8" providerId="AD" clId="Web-{0B535A0F-BBBF-11C3-8BAA-6B1315158241}" dt="2021-02-03T20:52:27.241" v="443"/>
          <ac:picMkLst>
            <pc:docMk/>
            <pc:sldMk cId="4246495997" sldId="296"/>
            <ac:picMk id="11" creationId="{DC7A777F-B432-49A5-9A19-84E8C5703C14}"/>
          </ac:picMkLst>
        </pc:picChg>
        <pc:picChg chg="add del mod">
          <ac:chgData name="McLeod, Caroline" userId="S::cmcleod@greatdentalplans.com::43031ce9-49a3-4f5f-9207-5c83a33945f8" providerId="AD" clId="Web-{0B535A0F-BBBF-11C3-8BAA-6B1315158241}" dt="2021-02-03T20:53:56.631" v="451"/>
          <ac:picMkLst>
            <pc:docMk/>
            <pc:sldMk cId="4246495997" sldId="296"/>
            <ac:picMk id="12" creationId="{062AD36C-552B-4860-9D5A-FF3F1C74A405}"/>
          </ac:picMkLst>
        </pc:picChg>
        <pc:picChg chg="add del mod">
          <ac:chgData name="McLeod, Caroline" userId="S::cmcleod@greatdentalplans.com::43031ce9-49a3-4f5f-9207-5c83a33945f8" providerId="AD" clId="Web-{0B535A0F-BBBF-11C3-8BAA-6B1315158241}" dt="2021-02-03T20:54:22.881" v="459"/>
          <ac:picMkLst>
            <pc:docMk/>
            <pc:sldMk cId="4246495997" sldId="296"/>
            <ac:picMk id="13" creationId="{9D101E66-2E3E-4266-AB93-1984F9752B7B}"/>
          </ac:picMkLst>
        </pc:picChg>
        <pc:picChg chg="add mod">
          <ac:chgData name="McLeod, Caroline" userId="S::cmcleod@greatdentalplans.com::43031ce9-49a3-4f5f-9207-5c83a33945f8" providerId="AD" clId="Web-{0B535A0F-BBBF-11C3-8BAA-6B1315158241}" dt="2021-02-03T20:54:58.474" v="469" actId="1076"/>
          <ac:picMkLst>
            <pc:docMk/>
            <pc:sldMk cId="4246495997" sldId="296"/>
            <ac:picMk id="15" creationId="{209C1B0D-3B2F-41B6-A6A0-2FF0FEE98CF0}"/>
          </ac:picMkLst>
        </pc:picChg>
      </pc:sldChg>
      <pc:sldChg chg="modSp">
        <pc:chgData name="McLeod, Caroline" userId="S::cmcleod@greatdentalplans.com::43031ce9-49a3-4f5f-9207-5c83a33945f8" providerId="AD" clId="Web-{0B535A0F-BBBF-11C3-8BAA-6B1315158241}" dt="2021-02-03T20:57:37.520" v="489"/>
        <pc:sldMkLst>
          <pc:docMk/>
          <pc:sldMk cId="142826157" sldId="298"/>
        </pc:sldMkLst>
        <pc:picChg chg="mod">
          <ac:chgData name="McLeod, Caroline" userId="S::cmcleod@greatdentalplans.com::43031ce9-49a3-4f5f-9207-5c83a33945f8" providerId="AD" clId="Web-{0B535A0F-BBBF-11C3-8BAA-6B1315158241}" dt="2021-02-03T20:57:37.520" v="489"/>
          <ac:picMkLst>
            <pc:docMk/>
            <pc:sldMk cId="142826157" sldId="298"/>
            <ac:picMk id="2052" creationId="{097F4A88-AF6C-4706-8A84-7013E3C7CEA4}"/>
          </ac:picMkLst>
        </pc:picChg>
      </pc:sldChg>
      <pc:sldChg chg="modSp add del">
        <pc:chgData name="McLeod, Caroline" userId="S::cmcleod@greatdentalplans.com::43031ce9-49a3-4f5f-9207-5c83a33945f8" providerId="AD" clId="Web-{0B535A0F-BBBF-11C3-8BAA-6B1315158241}" dt="2021-02-03T20:53:28.006" v="450"/>
        <pc:sldMkLst>
          <pc:docMk/>
          <pc:sldMk cId="1652394383" sldId="299"/>
        </pc:sldMkLst>
        <pc:picChg chg="mod">
          <ac:chgData name="McLeod, Caroline" userId="S::cmcleod@greatdentalplans.com::43031ce9-49a3-4f5f-9207-5c83a33945f8" providerId="AD" clId="Web-{0B535A0F-BBBF-11C3-8BAA-6B1315158241}" dt="2021-02-03T20:53:22.522" v="449" actId="1076"/>
          <ac:picMkLst>
            <pc:docMk/>
            <pc:sldMk cId="1652394383" sldId="299"/>
            <ac:picMk id="5" creationId="{754821BC-7166-EA4D-A2CD-8DC96438CDA0}"/>
          </ac:picMkLst>
        </pc:picChg>
      </pc:sldChg>
      <pc:sldChg chg="modSp add del">
        <pc:chgData name="McLeod, Caroline" userId="S::cmcleod@greatdentalplans.com::43031ce9-49a3-4f5f-9207-5c83a33945f8" providerId="AD" clId="Web-{0B535A0F-BBBF-11C3-8BAA-6B1315158241}" dt="2021-02-03T20:55:04.552" v="471"/>
        <pc:sldMkLst>
          <pc:docMk/>
          <pc:sldMk cId="2710081965" sldId="299"/>
        </pc:sldMkLst>
        <pc:picChg chg="mod">
          <ac:chgData name="McLeod, Caroline" userId="S::cmcleod@greatdentalplans.com::43031ce9-49a3-4f5f-9207-5c83a33945f8" providerId="AD" clId="Web-{0B535A0F-BBBF-11C3-8BAA-6B1315158241}" dt="2021-02-03T20:54:28.834" v="461" actId="1076"/>
          <ac:picMkLst>
            <pc:docMk/>
            <pc:sldMk cId="2710081965" sldId="299"/>
            <ac:picMk id="24" creationId="{C9E9846B-2521-41A7-908B-C9E64DEB7993}"/>
          </ac:picMkLst>
        </pc:picChg>
      </pc:sldChg>
    </pc:docChg>
  </pc:docChgLst>
  <pc:docChgLst>
    <pc:chgData name="McLeod, Caroline" userId="S::cmcleod@greatdentalplans.com::43031ce9-49a3-4f5f-9207-5c83a33945f8" providerId="AD" clId="Web-{66670FB0-2963-5B06-2914-67306D1C2BF6}"/>
    <pc:docChg chg="modSld">
      <pc:chgData name="McLeod, Caroline" userId="S::cmcleod@greatdentalplans.com::43031ce9-49a3-4f5f-9207-5c83a33945f8" providerId="AD" clId="Web-{66670FB0-2963-5B06-2914-67306D1C2BF6}" dt="2021-01-27T14:58:12.739" v="37" actId="20577"/>
      <pc:docMkLst>
        <pc:docMk/>
      </pc:docMkLst>
      <pc:sldChg chg="modSp">
        <pc:chgData name="McLeod, Caroline" userId="S::cmcleod@greatdentalplans.com::43031ce9-49a3-4f5f-9207-5c83a33945f8" providerId="AD" clId="Web-{66670FB0-2963-5B06-2914-67306D1C2BF6}" dt="2021-01-27T14:58:12.739" v="37" actId="20577"/>
        <pc:sldMkLst>
          <pc:docMk/>
          <pc:sldMk cId="705864357" sldId="260"/>
        </pc:sldMkLst>
        <pc:spChg chg="mod">
          <ac:chgData name="McLeod, Caroline" userId="S::cmcleod@greatdentalplans.com::43031ce9-49a3-4f5f-9207-5c83a33945f8" providerId="AD" clId="Web-{66670FB0-2963-5B06-2914-67306D1C2BF6}" dt="2021-01-27T14:58:12.739" v="37" actId="20577"/>
          <ac:spMkLst>
            <pc:docMk/>
            <pc:sldMk cId="705864357" sldId="260"/>
            <ac:spMk id="13" creationId="{60210121-CE4D-4277-8047-FD5B4616349C}"/>
          </ac:spMkLst>
        </pc:spChg>
      </pc:sldChg>
      <pc:sldChg chg="addCm">
        <pc:chgData name="McLeod, Caroline" userId="S::cmcleod@greatdentalplans.com::43031ce9-49a3-4f5f-9207-5c83a33945f8" providerId="AD" clId="Web-{66670FB0-2963-5B06-2914-67306D1C2BF6}" dt="2021-01-27T14:48:23.332" v="2"/>
        <pc:sldMkLst>
          <pc:docMk/>
          <pc:sldMk cId="3578281583" sldId="273"/>
        </pc:sldMkLst>
      </pc:sldChg>
      <pc:sldChg chg="addCm">
        <pc:chgData name="McLeod, Caroline" userId="S::cmcleod@greatdentalplans.com::43031ce9-49a3-4f5f-9207-5c83a33945f8" providerId="AD" clId="Web-{66670FB0-2963-5B06-2914-67306D1C2BF6}" dt="2021-01-27T14:50:36.730" v="3"/>
        <pc:sldMkLst>
          <pc:docMk/>
          <pc:sldMk cId="3725104515" sldId="275"/>
        </pc:sldMkLst>
      </pc:sldChg>
      <pc:sldChg chg="modSp addCm">
        <pc:chgData name="McLeod, Caroline" userId="S::cmcleod@greatdentalplans.com::43031ce9-49a3-4f5f-9207-5c83a33945f8" providerId="AD" clId="Web-{66670FB0-2963-5B06-2914-67306D1C2BF6}" dt="2021-01-27T14:55:53.919" v="14"/>
        <pc:sldMkLst>
          <pc:docMk/>
          <pc:sldMk cId="1279239907" sldId="276"/>
        </pc:sldMkLst>
        <pc:spChg chg="mod">
          <ac:chgData name="McLeod, Caroline" userId="S::cmcleod@greatdentalplans.com::43031ce9-49a3-4f5f-9207-5c83a33945f8" providerId="AD" clId="Web-{66670FB0-2963-5B06-2914-67306D1C2BF6}" dt="2021-01-27T14:55:15.823" v="13" actId="20577"/>
          <ac:spMkLst>
            <pc:docMk/>
            <pc:sldMk cId="1279239907" sldId="276"/>
            <ac:spMk id="3" creationId="{F458D0A8-A589-4C1F-8FC9-26D88C25A9E6}"/>
          </ac:spMkLst>
        </pc:spChg>
      </pc:sldChg>
      <pc:sldChg chg="modSp">
        <pc:chgData name="McLeod, Caroline" userId="S::cmcleod@greatdentalplans.com::43031ce9-49a3-4f5f-9207-5c83a33945f8" providerId="AD" clId="Web-{66670FB0-2963-5B06-2914-67306D1C2BF6}" dt="2021-01-27T14:57:32.861" v="17" actId="20577"/>
        <pc:sldMkLst>
          <pc:docMk/>
          <pc:sldMk cId="3771027733" sldId="280"/>
        </pc:sldMkLst>
        <pc:spChg chg="mod">
          <ac:chgData name="McLeod, Caroline" userId="S::cmcleod@greatdentalplans.com::43031ce9-49a3-4f5f-9207-5c83a33945f8" providerId="AD" clId="Web-{66670FB0-2963-5B06-2914-67306D1C2BF6}" dt="2021-01-27T14:57:32.861" v="17" actId="20577"/>
          <ac:spMkLst>
            <pc:docMk/>
            <pc:sldMk cId="3771027733" sldId="280"/>
            <ac:spMk id="86" creationId="{EDF94728-F27E-EF4E-9F53-BCAEBFB0FAE9}"/>
          </ac:spMkLst>
        </pc:spChg>
      </pc:sldChg>
    </pc:docChg>
  </pc:docChgLst>
  <pc:docChgLst>
    <pc:chgData name="McLeod, Caroline" userId="43031ce9-49a3-4f5f-9207-5c83a33945f8" providerId="ADAL" clId="{C8C7D4C8-3FCC-4ED1-8ABA-E51547910AB7}"/>
    <pc:docChg chg="undo redo custSel addSld delSld modSld sldOrd">
      <pc:chgData name="McLeod, Caroline" userId="43031ce9-49a3-4f5f-9207-5c83a33945f8" providerId="ADAL" clId="{C8C7D4C8-3FCC-4ED1-8ABA-E51547910AB7}" dt="2021-02-04T02:02:49.886" v="6743" actId="2696"/>
      <pc:docMkLst>
        <pc:docMk/>
      </pc:docMkLst>
      <pc:sldChg chg="delSp">
        <pc:chgData name="McLeod, Caroline" userId="43031ce9-49a3-4f5f-9207-5c83a33945f8" providerId="ADAL" clId="{C8C7D4C8-3FCC-4ED1-8ABA-E51547910AB7}" dt="2021-01-21T13:27:02.484" v="1" actId="478"/>
        <pc:sldMkLst>
          <pc:docMk/>
          <pc:sldMk cId="3355587186" sldId="263"/>
        </pc:sldMkLst>
        <pc:picChg chg="del">
          <ac:chgData name="McLeod, Caroline" userId="43031ce9-49a3-4f5f-9207-5c83a33945f8" providerId="ADAL" clId="{C8C7D4C8-3FCC-4ED1-8ABA-E51547910AB7}" dt="2021-01-21T13:26:57.245" v="0"/>
          <ac:picMkLst>
            <pc:docMk/>
            <pc:sldMk cId="3355587186" sldId="263"/>
            <ac:picMk id="34818" creationId="{EFA08540-F017-476A-90F9-81DA89187F2F}"/>
          </ac:picMkLst>
        </pc:picChg>
        <pc:picChg chg="del">
          <ac:chgData name="McLeod, Caroline" userId="43031ce9-49a3-4f5f-9207-5c83a33945f8" providerId="ADAL" clId="{C8C7D4C8-3FCC-4ED1-8ABA-E51547910AB7}" dt="2021-01-21T13:27:02.484" v="1" actId="478"/>
          <ac:picMkLst>
            <pc:docMk/>
            <pc:sldMk cId="3355587186" sldId="263"/>
            <ac:picMk id="34820" creationId="{2A33B7E0-BCAE-4D1D-8929-C690E6536977}"/>
          </ac:picMkLst>
        </pc:picChg>
      </pc:sldChg>
      <pc:sldChg chg="modNotesTx">
        <pc:chgData name="McLeod, Caroline" userId="43031ce9-49a3-4f5f-9207-5c83a33945f8" providerId="ADAL" clId="{C8C7D4C8-3FCC-4ED1-8ABA-E51547910AB7}" dt="2021-02-03T20:17:35.120" v="5934" actId="20577"/>
        <pc:sldMkLst>
          <pc:docMk/>
          <pc:sldMk cId="1374640660" sldId="271"/>
        </pc:sldMkLst>
      </pc:sldChg>
      <pc:sldChg chg="addSp delSp modSp addCm modCm modNotesTx">
        <pc:chgData name="McLeod, Caroline" userId="43031ce9-49a3-4f5f-9207-5c83a33945f8" providerId="ADAL" clId="{C8C7D4C8-3FCC-4ED1-8ABA-E51547910AB7}" dt="2021-02-03T19:23:30.937" v="1159" actId="313"/>
        <pc:sldMkLst>
          <pc:docMk/>
          <pc:sldMk cId="3578281583" sldId="273"/>
        </pc:sldMkLst>
        <pc:spChg chg="del mod">
          <ac:chgData name="McLeod, Caroline" userId="43031ce9-49a3-4f5f-9207-5c83a33945f8" providerId="ADAL" clId="{C8C7D4C8-3FCC-4ED1-8ABA-E51547910AB7}" dt="2021-02-03T18:53:54.727" v="433" actId="478"/>
          <ac:spMkLst>
            <pc:docMk/>
            <pc:sldMk cId="3578281583" sldId="273"/>
            <ac:spMk id="2" creationId="{26B89B30-385E-4EC5-A849-C94AD0496FA5}"/>
          </ac:spMkLst>
        </pc:spChg>
        <pc:spChg chg="add del mod">
          <ac:chgData name="McLeod, Caroline" userId="43031ce9-49a3-4f5f-9207-5c83a33945f8" providerId="ADAL" clId="{C8C7D4C8-3FCC-4ED1-8ABA-E51547910AB7}" dt="2021-02-03T18:55:27.090" v="454"/>
          <ac:spMkLst>
            <pc:docMk/>
            <pc:sldMk cId="3578281583" sldId="273"/>
            <ac:spMk id="4" creationId="{CB6DD62E-A6A7-4EE3-9813-5FC6C0DBFFBD}"/>
          </ac:spMkLst>
        </pc:spChg>
        <pc:spChg chg="add del mod">
          <ac:chgData name="McLeod, Caroline" userId="43031ce9-49a3-4f5f-9207-5c83a33945f8" providerId="ADAL" clId="{C8C7D4C8-3FCC-4ED1-8ABA-E51547910AB7}" dt="2021-02-03T19:09:44.537" v="554" actId="478"/>
          <ac:spMkLst>
            <pc:docMk/>
            <pc:sldMk cId="3578281583" sldId="273"/>
            <ac:spMk id="8" creationId="{8054244B-76F0-41E8-B862-8CA574C61F63}"/>
          </ac:spMkLst>
        </pc:spChg>
        <pc:spChg chg="add del mod">
          <ac:chgData name="McLeod, Caroline" userId="43031ce9-49a3-4f5f-9207-5c83a33945f8" providerId="ADAL" clId="{C8C7D4C8-3FCC-4ED1-8ABA-E51547910AB7}" dt="2021-02-03T18:55:27.090" v="454"/>
          <ac:spMkLst>
            <pc:docMk/>
            <pc:sldMk cId="3578281583" sldId="273"/>
            <ac:spMk id="18" creationId="{C18A2B37-F4AA-4162-89F6-E194C7BF4438}"/>
          </ac:spMkLst>
        </pc:spChg>
        <pc:spChg chg="add del mod">
          <ac:chgData name="McLeod, Caroline" userId="43031ce9-49a3-4f5f-9207-5c83a33945f8" providerId="ADAL" clId="{C8C7D4C8-3FCC-4ED1-8ABA-E51547910AB7}" dt="2021-02-03T19:00:43.957" v="485" actId="478"/>
          <ac:spMkLst>
            <pc:docMk/>
            <pc:sldMk cId="3578281583" sldId="273"/>
            <ac:spMk id="19" creationId="{BA6DAF57-40C5-46E2-A04F-F827CF72DDFC}"/>
          </ac:spMkLst>
        </pc:spChg>
        <pc:spChg chg="del mod">
          <ac:chgData name="McLeod, Caroline" userId="43031ce9-49a3-4f5f-9207-5c83a33945f8" providerId="ADAL" clId="{C8C7D4C8-3FCC-4ED1-8ABA-E51547910AB7}" dt="2021-02-03T19:09:58.144" v="557" actId="478"/>
          <ac:spMkLst>
            <pc:docMk/>
            <pc:sldMk cId="3578281583" sldId="273"/>
            <ac:spMk id="29" creationId="{C723D749-E560-4104-9B2D-96E714973B50}"/>
          </ac:spMkLst>
        </pc:spChg>
        <pc:spChg chg="del mod">
          <ac:chgData name="McLeod, Caroline" userId="43031ce9-49a3-4f5f-9207-5c83a33945f8" providerId="ADAL" clId="{C8C7D4C8-3FCC-4ED1-8ABA-E51547910AB7}" dt="2021-02-03T19:10:07.159" v="558" actId="478"/>
          <ac:spMkLst>
            <pc:docMk/>
            <pc:sldMk cId="3578281583" sldId="273"/>
            <ac:spMk id="36" creationId="{3B18CDD2-F6F0-42BA-AFFE-4FB4E878F8F5}"/>
          </ac:spMkLst>
        </pc:spChg>
        <pc:spChg chg="del">
          <ac:chgData name="McLeod, Caroline" userId="43031ce9-49a3-4f5f-9207-5c83a33945f8" providerId="ADAL" clId="{C8C7D4C8-3FCC-4ED1-8ABA-E51547910AB7}" dt="2021-02-03T19:11:10.306" v="561" actId="478"/>
          <ac:spMkLst>
            <pc:docMk/>
            <pc:sldMk cId="3578281583" sldId="273"/>
            <ac:spMk id="43" creationId="{27591241-B196-42A9-AE85-7B2CAB057412}"/>
          </ac:spMkLst>
        </pc:spChg>
        <pc:picChg chg="del mod ord modCrop">
          <ac:chgData name="McLeod, Caroline" userId="43031ce9-49a3-4f5f-9207-5c83a33945f8" providerId="ADAL" clId="{C8C7D4C8-3FCC-4ED1-8ABA-E51547910AB7}" dt="2021-02-03T19:09:40.694" v="553" actId="478"/>
          <ac:picMkLst>
            <pc:docMk/>
            <pc:sldMk cId="3578281583" sldId="273"/>
            <ac:picMk id="3" creationId="{8EFFE911-BD77-476D-B43E-9DBA8CEBBB2A}"/>
          </ac:picMkLst>
        </pc:picChg>
        <pc:picChg chg="add del mod modCrop">
          <ac:chgData name="McLeod, Caroline" userId="43031ce9-49a3-4f5f-9207-5c83a33945f8" providerId="ADAL" clId="{C8C7D4C8-3FCC-4ED1-8ABA-E51547910AB7}" dt="2021-02-03T19:02:14.950" v="498" actId="478"/>
          <ac:picMkLst>
            <pc:docMk/>
            <pc:sldMk cId="3578281583" sldId="273"/>
            <ac:picMk id="20" creationId="{E06EEE0A-C625-4C72-941A-62D9392664BD}"/>
          </ac:picMkLst>
        </pc:picChg>
        <pc:picChg chg="add mod">
          <ac:chgData name="McLeod, Caroline" userId="43031ce9-49a3-4f5f-9207-5c83a33945f8" providerId="ADAL" clId="{C8C7D4C8-3FCC-4ED1-8ABA-E51547910AB7}" dt="2021-02-03T19:06:06.771" v="515" actId="1076"/>
          <ac:picMkLst>
            <pc:docMk/>
            <pc:sldMk cId="3578281583" sldId="273"/>
            <ac:picMk id="21" creationId="{23926D39-5B2D-4B8F-9D3D-14084EA31225}"/>
          </ac:picMkLst>
        </pc:picChg>
      </pc:sldChg>
      <pc:sldChg chg="addSp delSp modSp addAnim delAnim modNotesTx">
        <pc:chgData name="McLeod, Caroline" userId="43031ce9-49a3-4f5f-9207-5c83a33945f8" providerId="ADAL" clId="{C8C7D4C8-3FCC-4ED1-8ABA-E51547910AB7}" dt="2021-02-03T19:39:41.450" v="3504" actId="20577"/>
        <pc:sldMkLst>
          <pc:docMk/>
          <pc:sldMk cId="3725104515" sldId="275"/>
        </pc:sldMkLst>
        <pc:spChg chg="mod">
          <ac:chgData name="McLeod, Caroline" userId="43031ce9-49a3-4f5f-9207-5c83a33945f8" providerId="ADAL" clId="{C8C7D4C8-3FCC-4ED1-8ABA-E51547910AB7}" dt="2021-02-03T19:12:50.814" v="568" actId="1076"/>
          <ac:spMkLst>
            <pc:docMk/>
            <pc:sldMk cId="3725104515" sldId="275"/>
            <ac:spMk id="2" creationId="{4258E63E-FD47-4B2C-86E8-E8EB717E50D0}"/>
          </ac:spMkLst>
        </pc:spChg>
        <pc:spChg chg="add del mod">
          <ac:chgData name="McLeod, Caroline" userId="43031ce9-49a3-4f5f-9207-5c83a33945f8" providerId="ADAL" clId="{C8C7D4C8-3FCC-4ED1-8ABA-E51547910AB7}" dt="2021-02-03T19:14:25.527" v="572" actId="478"/>
          <ac:spMkLst>
            <pc:docMk/>
            <pc:sldMk cId="3725104515" sldId="275"/>
            <ac:spMk id="7" creationId="{71E99223-A065-4690-B96C-81FE0EDF3AFD}"/>
          </ac:spMkLst>
        </pc:spChg>
        <pc:spChg chg="mod">
          <ac:chgData name="McLeod, Caroline" userId="43031ce9-49a3-4f5f-9207-5c83a33945f8" providerId="ADAL" clId="{C8C7D4C8-3FCC-4ED1-8ABA-E51547910AB7}" dt="2021-02-03T19:12:50.814" v="568" actId="1076"/>
          <ac:spMkLst>
            <pc:docMk/>
            <pc:sldMk cId="3725104515" sldId="275"/>
            <ac:spMk id="9" creationId="{A450AFBB-BC8B-4B99-926B-23D778487FA4}"/>
          </ac:spMkLst>
        </pc:spChg>
        <pc:spChg chg="mod">
          <ac:chgData name="McLeod, Caroline" userId="43031ce9-49a3-4f5f-9207-5c83a33945f8" providerId="ADAL" clId="{C8C7D4C8-3FCC-4ED1-8ABA-E51547910AB7}" dt="2021-02-03T19:12:50.814" v="568" actId="1076"/>
          <ac:spMkLst>
            <pc:docMk/>
            <pc:sldMk cId="3725104515" sldId="275"/>
            <ac:spMk id="10" creationId="{B12981A8-AE90-4116-AB07-D5BEB5F8B50E}"/>
          </ac:spMkLst>
        </pc:spChg>
        <pc:spChg chg="add del mod">
          <ac:chgData name="McLeod, Caroline" userId="43031ce9-49a3-4f5f-9207-5c83a33945f8" providerId="ADAL" clId="{C8C7D4C8-3FCC-4ED1-8ABA-E51547910AB7}" dt="2021-02-03T19:14:25.527" v="572" actId="478"/>
          <ac:spMkLst>
            <pc:docMk/>
            <pc:sldMk cId="3725104515" sldId="275"/>
            <ac:spMk id="11" creationId="{2C7C828B-D372-4F5A-BC81-6EFB63B31F33}"/>
          </ac:spMkLst>
        </pc:spChg>
        <pc:spChg chg="add del mod">
          <ac:chgData name="McLeod, Caroline" userId="43031ce9-49a3-4f5f-9207-5c83a33945f8" providerId="ADAL" clId="{C8C7D4C8-3FCC-4ED1-8ABA-E51547910AB7}" dt="2021-02-03T19:14:25.527" v="572" actId="478"/>
          <ac:spMkLst>
            <pc:docMk/>
            <pc:sldMk cId="3725104515" sldId="275"/>
            <ac:spMk id="12" creationId="{13A21C6E-95D2-4A80-9D86-E72DE5DF1DCC}"/>
          </ac:spMkLst>
        </pc:spChg>
        <pc:spChg chg="add del mod">
          <ac:chgData name="McLeod, Caroline" userId="43031ce9-49a3-4f5f-9207-5c83a33945f8" providerId="ADAL" clId="{C8C7D4C8-3FCC-4ED1-8ABA-E51547910AB7}" dt="2021-02-03T19:14:25.527" v="572" actId="478"/>
          <ac:spMkLst>
            <pc:docMk/>
            <pc:sldMk cId="3725104515" sldId="275"/>
            <ac:spMk id="13" creationId="{529BB0ED-8A29-4667-9D53-D0708A4E42E8}"/>
          </ac:spMkLst>
        </pc:spChg>
        <pc:spChg chg="add del mod">
          <ac:chgData name="McLeod, Caroline" userId="43031ce9-49a3-4f5f-9207-5c83a33945f8" providerId="ADAL" clId="{C8C7D4C8-3FCC-4ED1-8ABA-E51547910AB7}" dt="2021-02-03T19:14:25.527" v="572" actId="478"/>
          <ac:spMkLst>
            <pc:docMk/>
            <pc:sldMk cId="3725104515" sldId="275"/>
            <ac:spMk id="14" creationId="{2AF95A4B-97C5-4D50-B641-57B3552E9029}"/>
          </ac:spMkLst>
        </pc:spChg>
        <pc:spChg chg="mod">
          <ac:chgData name="McLeod, Caroline" userId="43031ce9-49a3-4f5f-9207-5c83a33945f8" providerId="ADAL" clId="{C8C7D4C8-3FCC-4ED1-8ABA-E51547910AB7}" dt="2021-02-03T19:12:50.814" v="568" actId="1076"/>
          <ac:spMkLst>
            <pc:docMk/>
            <pc:sldMk cId="3725104515" sldId="275"/>
            <ac:spMk id="15" creationId="{B81AB37F-CD90-435B-AC65-48CAA510420E}"/>
          </ac:spMkLst>
        </pc:spChg>
        <pc:spChg chg="mod">
          <ac:chgData name="McLeod, Caroline" userId="43031ce9-49a3-4f5f-9207-5c83a33945f8" providerId="ADAL" clId="{C8C7D4C8-3FCC-4ED1-8ABA-E51547910AB7}" dt="2021-02-03T19:12:50.814" v="568" actId="1076"/>
          <ac:spMkLst>
            <pc:docMk/>
            <pc:sldMk cId="3725104515" sldId="275"/>
            <ac:spMk id="16" creationId="{AE124BA3-5DC2-42B8-8E54-9A3D5E9226D3}"/>
          </ac:spMkLst>
        </pc:spChg>
        <pc:spChg chg="mod">
          <ac:chgData name="McLeod, Caroline" userId="43031ce9-49a3-4f5f-9207-5c83a33945f8" providerId="ADAL" clId="{C8C7D4C8-3FCC-4ED1-8ABA-E51547910AB7}" dt="2021-02-03T19:12:50.814" v="568" actId="1076"/>
          <ac:spMkLst>
            <pc:docMk/>
            <pc:sldMk cId="3725104515" sldId="275"/>
            <ac:spMk id="17" creationId="{CB440631-8E64-4922-AD70-BEACA287AD22}"/>
          </ac:spMkLst>
        </pc:spChg>
        <pc:spChg chg="mod">
          <ac:chgData name="McLeod, Caroline" userId="43031ce9-49a3-4f5f-9207-5c83a33945f8" providerId="ADAL" clId="{C8C7D4C8-3FCC-4ED1-8ABA-E51547910AB7}" dt="2021-02-03T19:12:50.814" v="568" actId="1076"/>
          <ac:spMkLst>
            <pc:docMk/>
            <pc:sldMk cId="3725104515" sldId="275"/>
            <ac:spMk id="18" creationId="{D8759982-1589-48F6-A692-D9EFEF426CEE}"/>
          </ac:spMkLst>
        </pc:spChg>
        <pc:spChg chg="mod">
          <ac:chgData name="McLeod, Caroline" userId="43031ce9-49a3-4f5f-9207-5c83a33945f8" providerId="ADAL" clId="{C8C7D4C8-3FCC-4ED1-8ABA-E51547910AB7}" dt="2021-02-03T19:12:50.814" v="568" actId="1076"/>
          <ac:spMkLst>
            <pc:docMk/>
            <pc:sldMk cId="3725104515" sldId="275"/>
            <ac:spMk id="19" creationId="{859126D6-0595-4EA3-8EDF-B5DF5131C230}"/>
          </ac:spMkLst>
        </pc:spChg>
        <pc:spChg chg="mod">
          <ac:chgData name="McLeod, Caroline" userId="43031ce9-49a3-4f5f-9207-5c83a33945f8" providerId="ADAL" clId="{C8C7D4C8-3FCC-4ED1-8ABA-E51547910AB7}" dt="2021-02-03T19:12:50.814" v="568" actId="1076"/>
          <ac:spMkLst>
            <pc:docMk/>
            <pc:sldMk cId="3725104515" sldId="275"/>
            <ac:spMk id="20" creationId="{0A1306C2-B677-45F9-BE43-1015919CB2D9}"/>
          </ac:spMkLst>
        </pc:spChg>
        <pc:spChg chg="mod">
          <ac:chgData name="McLeod, Caroline" userId="43031ce9-49a3-4f5f-9207-5c83a33945f8" providerId="ADAL" clId="{C8C7D4C8-3FCC-4ED1-8ABA-E51547910AB7}" dt="2021-02-03T19:12:50.814" v="568" actId="1076"/>
          <ac:spMkLst>
            <pc:docMk/>
            <pc:sldMk cId="3725104515" sldId="275"/>
            <ac:spMk id="21" creationId="{9E9652D0-7EEA-4AD1-9ECF-482E6117E578}"/>
          </ac:spMkLst>
        </pc:spChg>
        <pc:spChg chg="mod">
          <ac:chgData name="McLeod, Caroline" userId="43031ce9-49a3-4f5f-9207-5c83a33945f8" providerId="ADAL" clId="{C8C7D4C8-3FCC-4ED1-8ABA-E51547910AB7}" dt="2021-02-03T19:12:50.814" v="568" actId="1076"/>
          <ac:spMkLst>
            <pc:docMk/>
            <pc:sldMk cId="3725104515" sldId="275"/>
            <ac:spMk id="22" creationId="{88657DEF-EF0A-483D-AA86-1E659508783A}"/>
          </ac:spMkLst>
        </pc:spChg>
        <pc:spChg chg="mod">
          <ac:chgData name="McLeod, Caroline" userId="43031ce9-49a3-4f5f-9207-5c83a33945f8" providerId="ADAL" clId="{C8C7D4C8-3FCC-4ED1-8ABA-E51547910AB7}" dt="2021-02-03T19:12:50.814" v="568" actId="1076"/>
          <ac:spMkLst>
            <pc:docMk/>
            <pc:sldMk cId="3725104515" sldId="275"/>
            <ac:spMk id="23" creationId="{3AA68C7C-263A-4AA8-A7D7-3A23CBE13803}"/>
          </ac:spMkLst>
        </pc:spChg>
        <pc:spChg chg="mod">
          <ac:chgData name="McLeod, Caroline" userId="43031ce9-49a3-4f5f-9207-5c83a33945f8" providerId="ADAL" clId="{C8C7D4C8-3FCC-4ED1-8ABA-E51547910AB7}" dt="2021-02-03T19:12:50.814" v="568" actId="1076"/>
          <ac:spMkLst>
            <pc:docMk/>
            <pc:sldMk cId="3725104515" sldId="275"/>
            <ac:spMk id="24" creationId="{DD6CC340-1E77-45B3-A842-18F73163ADA9}"/>
          </ac:spMkLst>
        </pc:spChg>
        <pc:spChg chg="mod">
          <ac:chgData name="McLeod, Caroline" userId="43031ce9-49a3-4f5f-9207-5c83a33945f8" providerId="ADAL" clId="{C8C7D4C8-3FCC-4ED1-8ABA-E51547910AB7}" dt="2021-02-03T19:12:50.814" v="568" actId="1076"/>
          <ac:spMkLst>
            <pc:docMk/>
            <pc:sldMk cId="3725104515" sldId="275"/>
            <ac:spMk id="25" creationId="{8CC2E127-6443-45BB-80BC-0D25D50F7519}"/>
          </ac:spMkLst>
        </pc:spChg>
        <pc:spChg chg="mod">
          <ac:chgData name="McLeod, Caroline" userId="43031ce9-49a3-4f5f-9207-5c83a33945f8" providerId="ADAL" clId="{C8C7D4C8-3FCC-4ED1-8ABA-E51547910AB7}" dt="2021-02-03T19:12:50.814" v="568" actId="1076"/>
          <ac:spMkLst>
            <pc:docMk/>
            <pc:sldMk cId="3725104515" sldId="275"/>
            <ac:spMk id="26" creationId="{29833A2B-1520-45EB-B0B7-9D2B8E5ADB47}"/>
          </ac:spMkLst>
        </pc:spChg>
        <pc:spChg chg="mod">
          <ac:chgData name="McLeod, Caroline" userId="43031ce9-49a3-4f5f-9207-5c83a33945f8" providerId="ADAL" clId="{C8C7D4C8-3FCC-4ED1-8ABA-E51547910AB7}" dt="2021-02-03T19:12:50.814" v="568" actId="1076"/>
          <ac:spMkLst>
            <pc:docMk/>
            <pc:sldMk cId="3725104515" sldId="275"/>
            <ac:spMk id="27" creationId="{5F1328BC-8D9C-45BE-B2BD-A97924A63A6D}"/>
          </ac:spMkLst>
        </pc:spChg>
        <pc:spChg chg="mod">
          <ac:chgData name="McLeod, Caroline" userId="43031ce9-49a3-4f5f-9207-5c83a33945f8" providerId="ADAL" clId="{C8C7D4C8-3FCC-4ED1-8ABA-E51547910AB7}" dt="2021-02-03T19:12:50.814" v="568" actId="1076"/>
          <ac:spMkLst>
            <pc:docMk/>
            <pc:sldMk cId="3725104515" sldId="275"/>
            <ac:spMk id="37" creationId="{F768AE1C-655A-4E0B-B785-0E366502CAD6}"/>
          </ac:spMkLst>
        </pc:spChg>
        <pc:spChg chg="mod">
          <ac:chgData name="McLeod, Caroline" userId="43031ce9-49a3-4f5f-9207-5c83a33945f8" providerId="ADAL" clId="{C8C7D4C8-3FCC-4ED1-8ABA-E51547910AB7}" dt="2021-02-03T19:12:50.814" v="568" actId="1076"/>
          <ac:spMkLst>
            <pc:docMk/>
            <pc:sldMk cId="3725104515" sldId="275"/>
            <ac:spMk id="38" creationId="{7102E250-F4B0-4EFD-8534-65B587720285}"/>
          </ac:spMkLst>
        </pc:spChg>
        <pc:spChg chg="mod">
          <ac:chgData name="McLeod, Caroline" userId="43031ce9-49a3-4f5f-9207-5c83a33945f8" providerId="ADAL" clId="{C8C7D4C8-3FCC-4ED1-8ABA-E51547910AB7}" dt="2021-02-03T19:12:50.814" v="568" actId="1076"/>
          <ac:spMkLst>
            <pc:docMk/>
            <pc:sldMk cId="3725104515" sldId="275"/>
            <ac:spMk id="41" creationId="{DA5341D6-FF38-4920-A003-A4160D9962BE}"/>
          </ac:spMkLst>
        </pc:spChg>
        <pc:cxnChg chg="mod">
          <ac:chgData name="McLeod, Caroline" userId="43031ce9-49a3-4f5f-9207-5c83a33945f8" providerId="ADAL" clId="{C8C7D4C8-3FCC-4ED1-8ABA-E51547910AB7}" dt="2021-02-03T19:12:50.814" v="568" actId="1076"/>
          <ac:cxnSpMkLst>
            <pc:docMk/>
            <pc:sldMk cId="3725104515" sldId="275"/>
            <ac:cxnSpMk id="4" creationId="{94700C9B-B268-421A-8EA5-F55B10CCE28A}"/>
          </ac:cxnSpMkLst>
        </pc:cxnChg>
        <pc:cxnChg chg="mod">
          <ac:chgData name="McLeod, Caroline" userId="43031ce9-49a3-4f5f-9207-5c83a33945f8" providerId="ADAL" clId="{C8C7D4C8-3FCC-4ED1-8ABA-E51547910AB7}" dt="2021-02-03T19:12:50.814" v="568" actId="1076"/>
          <ac:cxnSpMkLst>
            <pc:docMk/>
            <pc:sldMk cId="3725104515" sldId="275"/>
            <ac:cxnSpMk id="5" creationId="{9F4187C4-1805-436B-9896-6E16904095CC}"/>
          </ac:cxnSpMkLst>
        </pc:cxnChg>
        <pc:cxnChg chg="add del mod">
          <ac:chgData name="McLeod, Caroline" userId="43031ce9-49a3-4f5f-9207-5c83a33945f8" providerId="ADAL" clId="{C8C7D4C8-3FCC-4ED1-8ABA-E51547910AB7}" dt="2021-02-03T19:14:25.527" v="572" actId="478"/>
          <ac:cxnSpMkLst>
            <pc:docMk/>
            <pc:sldMk cId="3725104515" sldId="275"/>
            <ac:cxnSpMk id="28" creationId="{56180A23-A740-4683-94DC-052BE1A5A3E8}"/>
          </ac:cxnSpMkLst>
        </pc:cxnChg>
        <pc:cxnChg chg="add del mod">
          <ac:chgData name="McLeod, Caroline" userId="43031ce9-49a3-4f5f-9207-5c83a33945f8" providerId="ADAL" clId="{C8C7D4C8-3FCC-4ED1-8ABA-E51547910AB7}" dt="2021-02-03T19:14:25.527" v="572" actId="478"/>
          <ac:cxnSpMkLst>
            <pc:docMk/>
            <pc:sldMk cId="3725104515" sldId="275"/>
            <ac:cxnSpMk id="30" creationId="{85367D22-2377-4D04-86C2-E9733D8D5859}"/>
          </ac:cxnSpMkLst>
        </pc:cxnChg>
        <pc:cxnChg chg="mod">
          <ac:chgData name="McLeod, Caroline" userId="43031ce9-49a3-4f5f-9207-5c83a33945f8" providerId="ADAL" clId="{C8C7D4C8-3FCC-4ED1-8ABA-E51547910AB7}" dt="2021-02-03T19:12:50.814" v="568" actId="1076"/>
          <ac:cxnSpMkLst>
            <pc:docMk/>
            <pc:sldMk cId="3725104515" sldId="275"/>
            <ac:cxnSpMk id="31" creationId="{8C4C2D64-1B78-4783-B8B3-3F0F7116EC01}"/>
          </ac:cxnSpMkLst>
        </pc:cxnChg>
        <pc:cxnChg chg="mod">
          <ac:chgData name="McLeod, Caroline" userId="43031ce9-49a3-4f5f-9207-5c83a33945f8" providerId="ADAL" clId="{C8C7D4C8-3FCC-4ED1-8ABA-E51547910AB7}" dt="2021-02-03T19:12:50.814" v="568" actId="1076"/>
          <ac:cxnSpMkLst>
            <pc:docMk/>
            <pc:sldMk cId="3725104515" sldId="275"/>
            <ac:cxnSpMk id="32" creationId="{4F3015ED-B58D-48D1-A9E7-314772158B24}"/>
          </ac:cxnSpMkLst>
        </pc:cxnChg>
        <pc:cxnChg chg="mod">
          <ac:chgData name="McLeod, Caroline" userId="43031ce9-49a3-4f5f-9207-5c83a33945f8" providerId="ADAL" clId="{C8C7D4C8-3FCC-4ED1-8ABA-E51547910AB7}" dt="2021-02-03T19:12:50.814" v="568" actId="1076"/>
          <ac:cxnSpMkLst>
            <pc:docMk/>
            <pc:sldMk cId="3725104515" sldId="275"/>
            <ac:cxnSpMk id="33" creationId="{883D7913-A7A6-40C1-915B-8BFB5EA47A2E}"/>
          </ac:cxnSpMkLst>
        </pc:cxnChg>
        <pc:cxnChg chg="mod">
          <ac:chgData name="McLeod, Caroline" userId="43031ce9-49a3-4f5f-9207-5c83a33945f8" providerId="ADAL" clId="{C8C7D4C8-3FCC-4ED1-8ABA-E51547910AB7}" dt="2021-02-03T19:12:50.814" v="568" actId="1076"/>
          <ac:cxnSpMkLst>
            <pc:docMk/>
            <pc:sldMk cId="3725104515" sldId="275"/>
            <ac:cxnSpMk id="39" creationId="{1D6FF747-63B3-414B-8DF4-2B5400C2A3FC}"/>
          </ac:cxnSpMkLst>
        </pc:cxnChg>
        <pc:cxnChg chg="mod">
          <ac:chgData name="McLeod, Caroline" userId="43031ce9-49a3-4f5f-9207-5c83a33945f8" providerId="ADAL" clId="{C8C7D4C8-3FCC-4ED1-8ABA-E51547910AB7}" dt="2021-02-03T19:12:50.814" v="568" actId="1076"/>
          <ac:cxnSpMkLst>
            <pc:docMk/>
            <pc:sldMk cId="3725104515" sldId="275"/>
            <ac:cxnSpMk id="40" creationId="{A339A679-1AC3-4F79-881B-DC648B114A2C}"/>
          </ac:cxnSpMkLst>
        </pc:cxnChg>
        <pc:cxnChg chg="mod">
          <ac:chgData name="McLeod, Caroline" userId="43031ce9-49a3-4f5f-9207-5c83a33945f8" providerId="ADAL" clId="{C8C7D4C8-3FCC-4ED1-8ABA-E51547910AB7}" dt="2021-02-03T19:12:50.814" v="568" actId="1076"/>
          <ac:cxnSpMkLst>
            <pc:docMk/>
            <pc:sldMk cId="3725104515" sldId="275"/>
            <ac:cxnSpMk id="48" creationId="{8C4058D2-B1F2-48D3-8DDF-F54AA0062EBE}"/>
          </ac:cxnSpMkLst>
        </pc:cxnChg>
      </pc:sldChg>
      <pc:sldChg chg="addSp delSp modSp modAnim addCm modCm modNotesTx">
        <pc:chgData name="McLeod, Caroline" userId="43031ce9-49a3-4f5f-9207-5c83a33945f8" providerId="ADAL" clId="{C8C7D4C8-3FCC-4ED1-8ABA-E51547910AB7}" dt="2021-02-03T20:28:31.673" v="6728" actId="20577"/>
        <pc:sldMkLst>
          <pc:docMk/>
          <pc:sldMk cId="1279239907" sldId="276"/>
        </pc:sldMkLst>
        <pc:spChg chg="del">
          <ac:chgData name="McLeod, Caroline" userId="43031ce9-49a3-4f5f-9207-5c83a33945f8" providerId="ADAL" clId="{C8C7D4C8-3FCC-4ED1-8ABA-E51547910AB7}" dt="2021-02-03T20:12:55.357" v="5817" actId="478"/>
          <ac:spMkLst>
            <pc:docMk/>
            <pc:sldMk cId="1279239907" sldId="276"/>
            <ac:spMk id="3" creationId="{F458D0A8-A589-4C1F-8FC9-26D88C25A9E6}"/>
          </ac:spMkLst>
        </pc:spChg>
        <pc:spChg chg="add mod">
          <ac:chgData name="McLeod, Caroline" userId="43031ce9-49a3-4f5f-9207-5c83a33945f8" providerId="ADAL" clId="{C8C7D4C8-3FCC-4ED1-8ABA-E51547910AB7}" dt="2021-02-03T20:12:42.044" v="5813" actId="255"/>
          <ac:spMkLst>
            <pc:docMk/>
            <pc:sldMk cId="1279239907" sldId="276"/>
            <ac:spMk id="6" creationId="{9BC4FBB2-42B9-4283-B4A7-F40006424D04}"/>
          </ac:spMkLst>
        </pc:spChg>
        <pc:spChg chg="add mod">
          <ac:chgData name="McLeod, Caroline" userId="43031ce9-49a3-4f5f-9207-5c83a33945f8" providerId="ADAL" clId="{C8C7D4C8-3FCC-4ED1-8ABA-E51547910AB7}" dt="2021-02-03T20:15:06.581" v="5850" actId="14100"/>
          <ac:spMkLst>
            <pc:docMk/>
            <pc:sldMk cId="1279239907" sldId="276"/>
            <ac:spMk id="7" creationId="{92865F1C-B2FE-48DB-858F-63484B294C4B}"/>
          </ac:spMkLst>
        </pc:spChg>
        <pc:spChg chg="add mod">
          <ac:chgData name="McLeod, Caroline" userId="43031ce9-49a3-4f5f-9207-5c83a33945f8" providerId="ADAL" clId="{C8C7D4C8-3FCC-4ED1-8ABA-E51547910AB7}" dt="2021-02-03T20:13:02.070" v="5819" actId="1076"/>
          <ac:spMkLst>
            <pc:docMk/>
            <pc:sldMk cId="1279239907" sldId="276"/>
            <ac:spMk id="8" creationId="{E1AE5F10-5358-417E-97A6-15B97E951F19}"/>
          </ac:spMkLst>
        </pc:spChg>
        <pc:spChg chg="add del mod">
          <ac:chgData name="McLeod, Caroline" userId="43031ce9-49a3-4f5f-9207-5c83a33945f8" providerId="ADAL" clId="{C8C7D4C8-3FCC-4ED1-8ABA-E51547910AB7}" dt="2021-02-03T20:12:59.214" v="5818" actId="478"/>
          <ac:spMkLst>
            <pc:docMk/>
            <pc:sldMk cId="1279239907" sldId="276"/>
            <ac:spMk id="9" creationId="{436AE5BD-A349-4CD2-A8CC-E3B2867790B1}"/>
          </ac:spMkLst>
        </pc:spChg>
        <pc:spChg chg="add mod">
          <ac:chgData name="McLeod, Caroline" userId="43031ce9-49a3-4f5f-9207-5c83a33945f8" providerId="ADAL" clId="{C8C7D4C8-3FCC-4ED1-8ABA-E51547910AB7}" dt="2021-02-03T20:15:42.249" v="5920" actId="1076"/>
          <ac:spMkLst>
            <pc:docMk/>
            <pc:sldMk cId="1279239907" sldId="276"/>
            <ac:spMk id="11" creationId="{478101FA-335F-4F70-9169-05E641D80F57}"/>
          </ac:spMkLst>
        </pc:spChg>
        <pc:picChg chg="mod ord">
          <ac:chgData name="McLeod, Caroline" userId="43031ce9-49a3-4f5f-9207-5c83a33945f8" providerId="ADAL" clId="{C8C7D4C8-3FCC-4ED1-8ABA-E51547910AB7}" dt="2021-02-03T20:16:29.552" v="5925" actId="1076"/>
          <ac:picMkLst>
            <pc:docMk/>
            <pc:sldMk cId="1279239907" sldId="276"/>
            <ac:picMk id="5" creationId="{FCA99F3B-E128-4560-A1D8-25F78734AB80}"/>
          </ac:picMkLst>
        </pc:picChg>
        <pc:picChg chg="add mod">
          <ac:chgData name="McLeod, Caroline" userId="43031ce9-49a3-4f5f-9207-5c83a33945f8" providerId="ADAL" clId="{C8C7D4C8-3FCC-4ED1-8ABA-E51547910AB7}" dt="2021-02-03T20:16:50.137" v="5927" actId="732"/>
          <ac:picMkLst>
            <pc:docMk/>
            <pc:sldMk cId="1279239907" sldId="276"/>
            <ac:picMk id="3074" creationId="{732145DB-3032-4FCE-9A87-DD0AAF8DB718}"/>
          </ac:picMkLst>
        </pc:picChg>
      </pc:sldChg>
      <pc:sldChg chg="modNotesTx">
        <pc:chgData name="McLeod, Caroline" userId="43031ce9-49a3-4f5f-9207-5c83a33945f8" providerId="ADAL" clId="{C8C7D4C8-3FCC-4ED1-8ABA-E51547910AB7}" dt="2021-02-03T20:19:08.614" v="6078" actId="20577"/>
        <pc:sldMkLst>
          <pc:docMk/>
          <pc:sldMk cId="3500298156" sldId="281"/>
        </pc:sldMkLst>
      </pc:sldChg>
      <pc:sldChg chg="addSp modSp ord">
        <pc:chgData name="McLeod, Caroline" userId="43031ce9-49a3-4f5f-9207-5c83a33945f8" providerId="ADAL" clId="{C8C7D4C8-3FCC-4ED1-8ABA-E51547910AB7}" dt="2021-01-21T14:09:25.618" v="102" actId="1035"/>
        <pc:sldMkLst>
          <pc:docMk/>
          <pc:sldMk cId="3066448132" sldId="283"/>
        </pc:sldMkLst>
        <pc:spChg chg="mod">
          <ac:chgData name="McLeod, Caroline" userId="43031ce9-49a3-4f5f-9207-5c83a33945f8" providerId="ADAL" clId="{C8C7D4C8-3FCC-4ED1-8ABA-E51547910AB7}" dt="2021-01-21T14:09:11.191" v="89" actId="20577"/>
          <ac:spMkLst>
            <pc:docMk/>
            <pc:sldMk cId="3066448132" sldId="283"/>
            <ac:spMk id="2" creationId="{21125826-3397-4F68-856C-A5122A0563CB}"/>
          </ac:spMkLst>
        </pc:spChg>
        <pc:spChg chg="add mod">
          <ac:chgData name="McLeod, Caroline" userId="43031ce9-49a3-4f5f-9207-5c83a33945f8" providerId="ADAL" clId="{C8C7D4C8-3FCC-4ED1-8ABA-E51547910AB7}" dt="2021-01-21T14:07:30.453" v="22" actId="1076"/>
          <ac:spMkLst>
            <pc:docMk/>
            <pc:sldMk cId="3066448132" sldId="283"/>
            <ac:spMk id="5" creationId="{184EB4AE-C961-44ED-90F3-85BB133031E1}"/>
          </ac:spMkLst>
        </pc:spChg>
        <pc:spChg chg="add mod">
          <ac:chgData name="McLeod, Caroline" userId="43031ce9-49a3-4f5f-9207-5c83a33945f8" providerId="ADAL" clId="{C8C7D4C8-3FCC-4ED1-8ABA-E51547910AB7}" dt="2021-01-21T14:09:25.618" v="102" actId="1035"/>
          <ac:spMkLst>
            <pc:docMk/>
            <pc:sldMk cId="3066448132" sldId="283"/>
            <ac:spMk id="6" creationId="{D86A45D1-8C9B-4409-8EF3-93A9969A02F3}"/>
          </ac:spMkLst>
        </pc:spChg>
      </pc:sldChg>
      <pc:sldChg chg="delSp addCm modCm modNotesTx">
        <pc:chgData name="McLeod, Caroline" userId="43031ce9-49a3-4f5f-9207-5c83a33945f8" providerId="ADAL" clId="{C8C7D4C8-3FCC-4ED1-8ABA-E51547910AB7}" dt="2021-02-03T19:29:07.225" v="1583" actId="20577"/>
        <pc:sldMkLst>
          <pc:docMk/>
          <pc:sldMk cId="1549554839" sldId="289"/>
        </pc:sldMkLst>
        <pc:spChg chg="del">
          <ac:chgData name="McLeod, Caroline" userId="43031ce9-49a3-4f5f-9207-5c83a33945f8" providerId="ADAL" clId="{C8C7D4C8-3FCC-4ED1-8ABA-E51547910AB7}" dt="2021-02-03T19:11:30.862" v="564" actId="478"/>
          <ac:spMkLst>
            <pc:docMk/>
            <pc:sldMk cId="1549554839" sldId="289"/>
            <ac:spMk id="10" creationId="{82A2C8E9-5B00-4E4B-A2E3-80D8281D8DFF}"/>
          </ac:spMkLst>
        </pc:spChg>
      </pc:sldChg>
      <pc:sldChg chg="modNotesTx">
        <pc:chgData name="McLeod, Caroline" userId="43031ce9-49a3-4f5f-9207-5c83a33945f8" providerId="ADAL" clId="{C8C7D4C8-3FCC-4ED1-8ABA-E51547910AB7}" dt="2021-02-03T20:21:28.932" v="6547" actId="20577"/>
        <pc:sldMkLst>
          <pc:docMk/>
          <pc:sldMk cId="2432183697" sldId="291"/>
        </pc:sldMkLst>
      </pc:sldChg>
      <pc:sldChg chg="addSp delSp modSp del delCm modCm">
        <pc:chgData name="McLeod, Caroline" userId="43031ce9-49a3-4f5f-9207-5c83a33945f8" providerId="ADAL" clId="{C8C7D4C8-3FCC-4ED1-8ABA-E51547910AB7}" dt="2021-02-04T02:02:49.886" v="6743" actId="2696"/>
        <pc:sldMkLst>
          <pc:docMk/>
          <pc:sldMk cId="3127225944" sldId="292"/>
        </pc:sldMkLst>
        <pc:spChg chg="add">
          <ac:chgData name="McLeod, Caroline" userId="43031ce9-49a3-4f5f-9207-5c83a33945f8" providerId="ADAL" clId="{C8C7D4C8-3FCC-4ED1-8ABA-E51547910AB7}" dt="2021-02-04T02:02:10.001" v="6735"/>
          <ac:spMkLst>
            <pc:docMk/>
            <pc:sldMk cId="3127225944" sldId="292"/>
            <ac:spMk id="6" creationId="{A4929C4E-0418-4A9D-8EA6-B0B2A7D53110}"/>
          </ac:spMkLst>
        </pc:spChg>
        <pc:spChg chg="add">
          <ac:chgData name="McLeod, Caroline" userId="43031ce9-49a3-4f5f-9207-5c83a33945f8" providerId="ADAL" clId="{C8C7D4C8-3FCC-4ED1-8ABA-E51547910AB7}" dt="2021-02-04T02:02:10.001" v="6735"/>
          <ac:spMkLst>
            <pc:docMk/>
            <pc:sldMk cId="3127225944" sldId="292"/>
            <ac:spMk id="7" creationId="{D20F7A4B-23D9-4681-AAC9-4A47CF4F7D6D}"/>
          </ac:spMkLst>
        </pc:spChg>
        <pc:spChg chg="add del mod">
          <ac:chgData name="McLeod, Caroline" userId="43031ce9-49a3-4f5f-9207-5c83a33945f8" providerId="ADAL" clId="{C8C7D4C8-3FCC-4ED1-8ABA-E51547910AB7}" dt="2021-02-04T02:02:16.702" v="6737" actId="478"/>
          <ac:spMkLst>
            <pc:docMk/>
            <pc:sldMk cId="3127225944" sldId="292"/>
            <ac:spMk id="8" creationId="{F082D060-A767-4C18-B036-79BE6EDA9A20}"/>
          </ac:spMkLst>
        </pc:spChg>
        <pc:spChg chg="add">
          <ac:chgData name="McLeod, Caroline" userId="43031ce9-49a3-4f5f-9207-5c83a33945f8" providerId="ADAL" clId="{C8C7D4C8-3FCC-4ED1-8ABA-E51547910AB7}" dt="2021-02-04T02:02:10.001" v="6735"/>
          <ac:spMkLst>
            <pc:docMk/>
            <pc:sldMk cId="3127225944" sldId="292"/>
            <ac:spMk id="9" creationId="{7A969A94-FA0D-42F6-B2B4-4F12FCDCE85B}"/>
          </ac:spMkLst>
        </pc:spChg>
        <pc:spChg chg="add">
          <ac:chgData name="McLeod, Caroline" userId="43031ce9-49a3-4f5f-9207-5c83a33945f8" providerId="ADAL" clId="{C8C7D4C8-3FCC-4ED1-8ABA-E51547910AB7}" dt="2021-02-04T02:02:10.001" v="6735"/>
          <ac:spMkLst>
            <pc:docMk/>
            <pc:sldMk cId="3127225944" sldId="292"/>
            <ac:spMk id="10" creationId="{FBFC9133-4CC5-4206-B8BC-30507106E151}"/>
          </ac:spMkLst>
        </pc:spChg>
        <pc:picChg chg="del">
          <ac:chgData name="McLeod, Caroline" userId="43031ce9-49a3-4f5f-9207-5c83a33945f8" providerId="ADAL" clId="{C8C7D4C8-3FCC-4ED1-8ABA-E51547910AB7}" dt="2021-02-04T02:02:01.174" v="6732" actId="478"/>
          <ac:picMkLst>
            <pc:docMk/>
            <pc:sldMk cId="3127225944" sldId="292"/>
            <ac:picMk id="3" creationId="{BCE9798F-168A-43E8-8FFB-FFC2EC92AF4D}"/>
          </ac:picMkLst>
        </pc:picChg>
        <pc:picChg chg="add">
          <ac:chgData name="McLeod, Caroline" userId="43031ce9-49a3-4f5f-9207-5c83a33945f8" providerId="ADAL" clId="{C8C7D4C8-3FCC-4ED1-8ABA-E51547910AB7}" dt="2021-02-04T02:02:10.001" v="6735"/>
          <ac:picMkLst>
            <pc:docMk/>
            <pc:sldMk cId="3127225944" sldId="292"/>
            <ac:picMk id="11" creationId="{A5DEBE82-1812-46B6-AC6F-51303FBC0077}"/>
          </ac:picMkLst>
        </pc:picChg>
        <pc:cxnChg chg="add">
          <ac:chgData name="McLeod, Caroline" userId="43031ce9-49a3-4f5f-9207-5c83a33945f8" providerId="ADAL" clId="{C8C7D4C8-3FCC-4ED1-8ABA-E51547910AB7}" dt="2021-02-04T02:02:10.001" v="6735"/>
          <ac:cxnSpMkLst>
            <pc:docMk/>
            <pc:sldMk cId="3127225944" sldId="292"/>
            <ac:cxnSpMk id="12" creationId="{458F8DCE-0700-40E7-939F-24211F976545}"/>
          </ac:cxnSpMkLst>
        </pc:cxnChg>
        <pc:cxnChg chg="add">
          <ac:chgData name="McLeod, Caroline" userId="43031ce9-49a3-4f5f-9207-5c83a33945f8" providerId="ADAL" clId="{C8C7D4C8-3FCC-4ED1-8ABA-E51547910AB7}" dt="2021-02-04T02:02:10.001" v="6735"/>
          <ac:cxnSpMkLst>
            <pc:docMk/>
            <pc:sldMk cId="3127225944" sldId="292"/>
            <ac:cxnSpMk id="13" creationId="{D6CB5C91-243D-4486-B065-8E98171D2D8E}"/>
          </ac:cxnSpMkLst>
        </pc:cxnChg>
        <pc:cxnChg chg="add">
          <ac:chgData name="McLeod, Caroline" userId="43031ce9-49a3-4f5f-9207-5c83a33945f8" providerId="ADAL" clId="{C8C7D4C8-3FCC-4ED1-8ABA-E51547910AB7}" dt="2021-02-04T02:02:10.001" v="6735"/>
          <ac:cxnSpMkLst>
            <pc:docMk/>
            <pc:sldMk cId="3127225944" sldId="292"/>
            <ac:cxnSpMk id="14" creationId="{1FD3F18B-6924-4AD5-A61A-95B0515B970A}"/>
          </ac:cxnSpMkLst>
        </pc:cxnChg>
        <pc:cxnChg chg="add">
          <ac:chgData name="McLeod, Caroline" userId="43031ce9-49a3-4f5f-9207-5c83a33945f8" providerId="ADAL" clId="{C8C7D4C8-3FCC-4ED1-8ABA-E51547910AB7}" dt="2021-02-04T02:02:10.001" v="6735"/>
          <ac:cxnSpMkLst>
            <pc:docMk/>
            <pc:sldMk cId="3127225944" sldId="292"/>
            <ac:cxnSpMk id="15" creationId="{0D5477B8-A443-4ACA-918C-F43129EB2FA8}"/>
          </ac:cxnSpMkLst>
        </pc:cxnChg>
      </pc:sldChg>
      <pc:sldChg chg="addSp delSp modSp">
        <pc:chgData name="McLeod, Caroline" userId="43031ce9-49a3-4f5f-9207-5c83a33945f8" providerId="ADAL" clId="{C8C7D4C8-3FCC-4ED1-8ABA-E51547910AB7}" dt="2021-02-03T19:11:14.727" v="563" actId="478"/>
        <pc:sldMkLst>
          <pc:docMk/>
          <pc:sldMk cId="2359732605" sldId="293"/>
        </pc:sldMkLst>
        <pc:spChg chg="del">
          <ac:chgData name="McLeod, Caroline" userId="43031ce9-49a3-4f5f-9207-5c83a33945f8" providerId="ADAL" clId="{C8C7D4C8-3FCC-4ED1-8ABA-E51547910AB7}" dt="2021-02-03T19:11:14.727" v="563" actId="478"/>
          <ac:spMkLst>
            <pc:docMk/>
            <pc:sldMk cId="2359732605" sldId="293"/>
            <ac:spMk id="5" creationId="{0D3D8F1F-01F5-4ED5-9C9A-69F7CDDA70D6}"/>
          </ac:spMkLst>
        </pc:spChg>
        <pc:spChg chg="add">
          <ac:chgData name="McLeod, Caroline" userId="43031ce9-49a3-4f5f-9207-5c83a33945f8" providerId="ADAL" clId="{C8C7D4C8-3FCC-4ED1-8ABA-E51547910AB7}" dt="2021-02-03T19:11:12.087" v="562"/>
          <ac:spMkLst>
            <pc:docMk/>
            <pc:sldMk cId="2359732605" sldId="293"/>
            <ac:spMk id="6" creationId="{5C0C5187-4DD0-4D32-B1D0-B73A05870ECC}"/>
          </ac:spMkLst>
        </pc:spChg>
        <pc:picChg chg="mod">
          <ac:chgData name="McLeod, Caroline" userId="43031ce9-49a3-4f5f-9207-5c83a33945f8" providerId="ADAL" clId="{C8C7D4C8-3FCC-4ED1-8ABA-E51547910AB7}" dt="2021-02-03T18:51:05.144" v="113" actId="1035"/>
          <ac:picMkLst>
            <pc:docMk/>
            <pc:sldMk cId="2359732605" sldId="293"/>
            <ac:picMk id="7" creationId="{02205C26-7384-4817-8B59-56C5865A5A06}"/>
          </ac:picMkLst>
        </pc:picChg>
      </pc:sldChg>
      <pc:sldChg chg="delSp modSp ord delAnim addCm modCm modNotesTx">
        <pc:chgData name="McLeod, Caroline" userId="43031ce9-49a3-4f5f-9207-5c83a33945f8" providerId="ADAL" clId="{C8C7D4C8-3FCC-4ED1-8ABA-E51547910AB7}" dt="2021-02-03T19:38:28.747" v="3265" actId="20577"/>
        <pc:sldMkLst>
          <pc:docMk/>
          <pc:sldMk cId="1032135914" sldId="294"/>
        </pc:sldMkLst>
        <pc:spChg chg="del mod">
          <ac:chgData name="McLeod, Caroline" userId="43031ce9-49a3-4f5f-9207-5c83a33945f8" providerId="ADAL" clId="{C8C7D4C8-3FCC-4ED1-8ABA-E51547910AB7}" dt="2021-02-03T19:17:45.814" v="635" actId="478"/>
          <ac:spMkLst>
            <pc:docMk/>
            <pc:sldMk cId="1032135914" sldId="294"/>
            <ac:spMk id="2" creationId="{4258E63E-FD47-4B2C-86E8-E8EB717E50D0}"/>
          </ac:spMkLst>
        </pc:spChg>
        <pc:spChg chg="del">
          <ac:chgData name="McLeod, Caroline" userId="43031ce9-49a3-4f5f-9207-5c83a33945f8" providerId="ADAL" clId="{C8C7D4C8-3FCC-4ED1-8ABA-E51547910AB7}" dt="2021-02-03T19:17:16.372" v="628" actId="478"/>
          <ac:spMkLst>
            <pc:docMk/>
            <pc:sldMk cId="1032135914" sldId="294"/>
            <ac:spMk id="8" creationId="{C4691361-A2C8-437E-A347-FF1A9623A7D4}"/>
          </ac:spMkLst>
        </pc:spChg>
        <pc:spChg chg="del mod">
          <ac:chgData name="McLeod, Caroline" userId="43031ce9-49a3-4f5f-9207-5c83a33945f8" providerId="ADAL" clId="{C8C7D4C8-3FCC-4ED1-8ABA-E51547910AB7}" dt="2021-02-03T19:17:58.293" v="639" actId="478"/>
          <ac:spMkLst>
            <pc:docMk/>
            <pc:sldMk cId="1032135914" sldId="294"/>
            <ac:spMk id="9" creationId="{A450AFBB-BC8B-4B99-926B-23D778487FA4}"/>
          </ac:spMkLst>
        </pc:spChg>
        <pc:spChg chg="mod">
          <ac:chgData name="McLeod, Caroline" userId="43031ce9-49a3-4f5f-9207-5c83a33945f8" providerId="ADAL" clId="{C8C7D4C8-3FCC-4ED1-8ABA-E51547910AB7}" dt="2021-02-03T19:34:50.568" v="2671" actId="1038"/>
          <ac:spMkLst>
            <pc:docMk/>
            <pc:sldMk cId="1032135914" sldId="294"/>
            <ac:spMk id="10" creationId="{B12981A8-AE90-4116-AB07-D5BEB5F8B50E}"/>
          </ac:spMkLst>
        </pc:spChg>
        <pc:spChg chg="mod">
          <ac:chgData name="McLeod, Caroline" userId="43031ce9-49a3-4f5f-9207-5c83a33945f8" providerId="ADAL" clId="{C8C7D4C8-3FCC-4ED1-8ABA-E51547910AB7}" dt="2021-02-03T19:15:25.257" v="594" actId="14100"/>
          <ac:spMkLst>
            <pc:docMk/>
            <pc:sldMk cId="1032135914" sldId="294"/>
            <ac:spMk id="15" creationId="{B81AB37F-CD90-435B-AC65-48CAA510420E}"/>
          </ac:spMkLst>
        </pc:spChg>
        <pc:spChg chg="mod">
          <ac:chgData name="McLeod, Caroline" userId="43031ce9-49a3-4f5f-9207-5c83a33945f8" providerId="ADAL" clId="{C8C7D4C8-3FCC-4ED1-8ABA-E51547910AB7}" dt="2021-02-03T19:16:09.420" v="612" actId="14100"/>
          <ac:spMkLst>
            <pc:docMk/>
            <pc:sldMk cId="1032135914" sldId="294"/>
            <ac:spMk id="16" creationId="{AE124BA3-5DC2-42B8-8E54-9A3D5E9226D3}"/>
          </ac:spMkLst>
        </pc:spChg>
        <pc:spChg chg="mod">
          <ac:chgData name="McLeod, Caroline" userId="43031ce9-49a3-4f5f-9207-5c83a33945f8" providerId="ADAL" clId="{C8C7D4C8-3FCC-4ED1-8ABA-E51547910AB7}" dt="2021-02-03T19:18:08.015" v="640" actId="1035"/>
          <ac:spMkLst>
            <pc:docMk/>
            <pc:sldMk cId="1032135914" sldId="294"/>
            <ac:spMk id="17" creationId="{CB440631-8E64-4922-AD70-BEACA287AD22}"/>
          </ac:spMkLst>
        </pc:spChg>
        <pc:spChg chg="mod">
          <ac:chgData name="McLeod, Caroline" userId="43031ce9-49a3-4f5f-9207-5c83a33945f8" providerId="ADAL" clId="{C8C7D4C8-3FCC-4ED1-8ABA-E51547910AB7}" dt="2021-02-03T19:18:24.512" v="647" actId="1038"/>
          <ac:spMkLst>
            <pc:docMk/>
            <pc:sldMk cId="1032135914" sldId="294"/>
            <ac:spMk id="18" creationId="{D8759982-1589-48F6-A692-D9EFEF426CEE}"/>
          </ac:spMkLst>
        </pc:spChg>
        <pc:spChg chg="mod">
          <ac:chgData name="McLeod, Caroline" userId="43031ce9-49a3-4f5f-9207-5c83a33945f8" providerId="ADAL" clId="{C8C7D4C8-3FCC-4ED1-8ABA-E51547910AB7}" dt="2021-02-03T19:18:20.979" v="646" actId="1038"/>
          <ac:spMkLst>
            <pc:docMk/>
            <pc:sldMk cId="1032135914" sldId="294"/>
            <ac:spMk id="19" creationId="{859126D6-0595-4EA3-8EDF-B5DF5131C230}"/>
          </ac:spMkLst>
        </pc:spChg>
        <pc:spChg chg="mod">
          <ac:chgData name="McLeod, Caroline" userId="43031ce9-49a3-4f5f-9207-5c83a33945f8" providerId="ADAL" clId="{C8C7D4C8-3FCC-4ED1-8ABA-E51547910AB7}" dt="2021-02-03T19:18:28.255" v="648" actId="1037"/>
          <ac:spMkLst>
            <pc:docMk/>
            <pc:sldMk cId="1032135914" sldId="294"/>
            <ac:spMk id="20" creationId="{0A1306C2-B677-45F9-BE43-1015919CB2D9}"/>
          </ac:spMkLst>
        </pc:spChg>
        <pc:spChg chg="mod">
          <ac:chgData name="McLeod, Caroline" userId="43031ce9-49a3-4f5f-9207-5c83a33945f8" providerId="ADAL" clId="{C8C7D4C8-3FCC-4ED1-8ABA-E51547910AB7}" dt="2021-02-03T19:18:18.272" v="645" actId="1036"/>
          <ac:spMkLst>
            <pc:docMk/>
            <pc:sldMk cId="1032135914" sldId="294"/>
            <ac:spMk id="21" creationId="{9E9652D0-7EEA-4AD1-9ECF-482E6117E578}"/>
          </ac:spMkLst>
        </pc:spChg>
        <pc:spChg chg="mod">
          <ac:chgData name="McLeod, Caroline" userId="43031ce9-49a3-4f5f-9207-5c83a33945f8" providerId="ADAL" clId="{C8C7D4C8-3FCC-4ED1-8ABA-E51547910AB7}" dt="2021-02-03T19:17:08.072" v="625" actId="1076"/>
          <ac:spMkLst>
            <pc:docMk/>
            <pc:sldMk cId="1032135914" sldId="294"/>
            <ac:spMk id="22" creationId="{88657DEF-EF0A-483D-AA86-1E659508783A}"/>
          </ac:spMkLst>
        </pc:spChg>
        <pc:spChg chg="mod">
          <ac:chgData name="McLeod, Caroline" userId="43031ce9-49a3-4f5f-9207-5c83a33945f8" providerId="ADAL" clId="{C8C7D4C8-3FCC-4ED1-8ABA-E51547910AB7}" dt="2021-02-03T19:17:08.072" v="625" actId="1076"/>
          <ac:spMkLst>
            <pc:docMk/>
            <pc:sldMk cId="1032135914" sldId="294"/>
            <ac:spMk id="23" creationId="{3AA68C7C-263A-4AA8-A7D7-3A23CBE13803}"/>
          </ac:spMkLst>
        </pc:spChg>
        <pc:spChg chg="mod">
          <ac:chgData name="McLeod, Caroline" userId="43031ce9-49a3-4f5f-9207-5c83a33945f8" providerId="ADAL" clId="{C8C7D4C8-3FCC-4ED1-8ABA-E51547910AB7}" dt="2021-02-03T19:17:08.072" v="625" actId="1076"/>
          <ac:spMkLst>
            <pc:docMk/>
            <pc:sldMk cId="1032135914" sldId="294"/>
            <ac:spMk id="24" creationId="{DD6CC340-1E77-45B3-A842-18F73163ADA9}"/>
          </ac:spMkLst>
        </pc:spChg>
        <pc:spChg chg="mod">
          <ac:chgData name="McLeod, Caroline" userId="43031ce9-49a3-4f5f-9207-5c83a33945f8" providerId="ADAL" clId="{C8C7D4C8-3FCC-4ED1-8ABA-E51547910AB7}" dt="2021-02-03T19:17:08.072" v="625" actId="1076"/>
          <ac:spMkLst>
            <pc:docMk/>
            <pc:sldMk cId="1032135914" sldId="294"/>
            <ac:spMk id="25" creationId="{8CC2E127-6443-45BB-80BC-0D25D50F7519}"/>
          </ac:spMkLst>
        </pc:spChg>
        <pc:spChg chg="mod">
          <ac:chgData name="McLeod, Caroline" userId="43031ce9-49a3-4f5f-9207-5c83a33945f8" providerId="ADAL" clId="{C8C7D4C8-3FCC-4ED1-8ABA-E51547910AB7}" dt="2021-02-03T19:17:08.072" v="625" actId="1076"/>
          <ac:spMkLst>
            <pc:docMk/>
            <pc:sldMk cId="1032135914" sldId="294"/>
            <ac:spMk id="26" creationId="{29833A2B-1520-45EB-B0B7-9D2B8E5ADB47}"/>
          </ac:spMkLst>
        </pc:spChg>
        <pc:spChg chg="mod">
          <ac:chgData name="McLeod, Caroline" userId="43031ce9-49a3-4f5f-9207-5c83a33945f8" providerId="ADAL" clId="{C8C7D4C8-3FCC-4ED1-8ABA-E51547910AB7}" dt="2021-02-03T19:17:08.072" v="625" actId="1076"/>
          <ac:spMkLst>
            <pc:docMk/>
            <pc:sldMk cId="1032135914" sldId="294"/>
            <ac:spMk id="27" creationId="{5F1328BC-8D9C-45BE-B2BD-A97924A63A6D}"/>
          </ac:spMkLst>
        </pc:spChg>
        <pc:spChg chg="mod">
          <ac:chgData name="McLeod, Caroline" userId="43031ce9-49a3-4f5f-9207-5c83a33945f8" providerId="ADAL" clId="{C8C7D4C8-3FCC-4ED1-8ABA-E51547910AB7}" dt="2021-02-03T19:17:08.072" v="625" actId="1076"/>
          <ac:spMkLst>
            <pc:docMk/>
            <pc:sldMk cId="1032135914" sldId="294"/>
            <ac:spMk id="37" creationId="{F768AE1C-655A-4E0B-B785-0E366502CAD6}"/>
          </ac:spMkLst>
        </pc:spChg>
        <pc:spChg chg="del mod">
          <ac:chgData name="McLeod, Caroline" userId="43031ce9-49a3-4f5f-9207-5c83a33945f8" providerId="ADAL" clId="{C8C7D4C8-3FCC-4ED1-8ABA-E51547910AB7}" dt="2021-02-03T19:14:50.901" v="576" actId="478"/>
          <ac:spMkLst>
            <pc:docMk/>
            <pc:sldMk cId="1032135914" sldId="294"/>
            <ac:spMk id="38" creationId="{7102E250-F4B0-4EFD-8534-65B587720285}"/>
          </ac:spMkLst>
        </pc:spChg>
        <pc:spChg chg="mod">
          <ac:chgData name="McLeod, Caroline" userId="43031ce9-49a3-4f5f-9207-5c83a33945f8" providerId="ADAL" clId="{C8C7D4C8-3FCC-4ED1-8ABA-E51547910AB7}" dt="2021-02-03T19:17:08.072" v="625" actId="1076"/>
          <ac:spMkLst>
            <pc:docMk/>
            <pc:sldMk cId="1032135914" sldId="294"/>
            <ac:spMk id="41" creationId="{DA5341D6-FF38-4920-A003-A4160D9962BE}"/>
          </ac:spMkLst>
        </pc:spChg>
        <pc:spChg chg="del mod">
          <ac:chgData name="McLeod, Caroline" userId="43031ce9-49a3-4f5f-9207-5c83a33945f8" providerId="ADAL" clId="{C8C7D4C8-3FCC-4ED1-8ABA-E51547910AB7}" dt="2021-02-03T19:17:18.437" v="629" actId="478"/>
          <ac:spMkLst>
            <pc:docMk/>
            <pc:sldMk cId="1032135914" sldId="294"/>
            <ac:spMk id="45" creationId="{FEF7F17B-D88A-4753-8CF2-751124A3D656}"/>
          </ac:spMkLst>
        </pc:spChg>
        <pc:picChg chg="mod ord modCrop">
          <ac:chgData name="McLeod, Caroline" userId="43031ce9-49a3-4f5f-9207-5c83a33945f8" providerId="ADAL" clId="{C8C7D4C8-3FCC-4ED1-8ABA-E51547910AB7}" dt="2021-02-03T19:17:40.063" v="634" actId="1076"/>
          <ac:picMkLst>
            <pc:docMk/>
            <pc:sldMk cId="1032135914" sldId="294"/>
            <ac:picMk id="3" creationId="{54179603-F4A2-4125-8990-8EDFCBF4E291}"/>
          </ac:picMkLst>
        </pc:picChg>
        <pc:cxnChg chg="mod">
          <ac:chgData name="McLeod, Caroline" userId="43031ce9-49a3-4f5f-9207-5c83a33945f8" providerId="ADAL" clId="{C8C7D4C8-3FCC-4ED1-8ABA-E51547910AB7}" dt="2021-02-03T19:17:08.072" v="625" actId="1076"/>
          <ac:cxnSpMkLst>
            <pc:docMk/>
            <pc:sldMk cId="1032135914" sldId="294"/>
            <ac:cxnSpMk id="4" creationId="{94700C9B-B268-421A-8EA5-F55B10CCE28A}"/>
          </ac:cxnSpMkLst>
        </pc:cxnChg>
        <pc:cxnChg chg="del">
          <ac:chgData name="McLeod, Caroline" userId="43031ce9-49a3-4f5f-9207-5c83a33945f8" providerId="ADAL" clId="{C8C7D4C8-3FCC-4ED1-8ABA-E51547910AB7}" dt="2021-02-03T19:14:47.804" v="574" actId="478"/>
          <ac:cxnSpMkLst>
            <pc:docMk/>
            <pc:sldMk cId="1032135914" sldId="294"/>
            <ac:cxnSpMk id="5" creationId="{9F4187C4-1805-436B-9896-6E16904095CC}"/>
          </ac:cxnSpMkLst>
        </pc:cxnChg>
        <pc:cxnChg chg="mod">
          <ac:chgData name="McLeod, Caroline" userId="43031ce9-49a3-4f5f-9207-5c83a33945f8" providerId="ADAL" clId="{C8C7D4C8-3FCC-4ED1-8ABA-E51547910AB7}" dt="2021-02-03T19:17:08.072" v="625" actId="1076"/>
          <ac:cxnSpMkLst>
            <pc:docMk/>
            <pc:sldMk cId="1032135914" sldId="294"/>
            <ac:cxnSpMk id="32" creationId="{4F3015ED-B58D-48D1-A9E7-314772158B24}"/>
          </ac:cxnSpMkLst>
        </pc:cxnChg>
        <pc:cxnChg chg="mod">
          <ac:chgData name="McLeod, Caroline" userId="43031ce9-49a3-4f5f-9207-5c83a33945f8" providerId="ADAL" clId="{C8C7D4C8-3FCC-4ED1-8ABA-E51547910AB7}" dt="2021-02-03T19:17:08.072" v="625" actId="1076"/>
          <ac:cxnSpMkLst>
            <pc:docMk/>
            <pc:sldMk cId="1032135914" sldId="294"/>
            <ac:cxnSpMk id="33" creationId="{883D7913-A7A6-40C1-915B-8BFB5EA47A2E}"/>
          </ac:cxnSpMkLst>
        </pc:cxnChg>
        <pc:cxnChg chg="mod">
          <ac:chgData name="McLeod, Caroline" userId="43031ce9-49a3-4f5f-9207-5c83a33945f8" providerId="ADAL" clId="{C8C7D4C8-3FCC-4ED1-8ABA-E51547910AB7}" dt="2021-02-03T19:17:08.072" v="625" actId="1076"/>
          <ac:cxnSpMkLst>
            <pc:docMk/>
            <pc:sldMk cId="1032135914" sldId="294"/>
            <ac:cxnSpMk id="39" creationId="{1D6FF747-63B3-414B-8DF4-2B5400C2A3FC}"/>
          </ac:cxnSpMkLst>
        </pc:cxnChg>
        <pc:cxnChg chg="mod">
          <ac:chgData name="McLeod, Caroline" userId="43031ce9-49a3-4f5f-9207-5c83a33945f8" providerId="ADAL" clId="{C8C7D4C8-3FCC-4ED1-8ABA-E51547910AB7}" dt="2021-02-03T19:18:38.142" v="650" actId="14100"/>
          <ac:cxnSpMkLst>
            <pc:docMk/>
            <pc:sldMk cId="1032135914" sldId="294"/>
            <ac:cxnSpMk id="40" creationId="{A339A679-1AC3-4F79-881B-DC648B114A2C}"/>
          </ac:cxnSpMkLst>
        </pc:cxnChg>
        <pc:cxnChg chg="del mod">
          <ac:chgData name="McLeod, Caroline" userId="43031ce9-49a3-4f5f-9207-5c83a33945f8" providerId="ADAL" clId="{C8C7D4C8-3FCC-4ED1-8ABA-E51547910AB7}" dt="2021-02-03T19:17:50.729" v="637" actId="478"/>
          <ac:cxnSpMkLst>
            <pc:docMk/>
            <pc:sldMk cId="1032135914" sldId="294"/>
            <ac:cxnSpMk id="48" creationId="{8C4058D2-B1F2-48D3-8DDF-F54AA0062EBE}"/>
          </ac:cxnSpMkLst>
        </pc:cxnChg>
      </pc:sldChg>
      <pc:sldChg chg="add del">
        <pc:chgData name="McLeod, Caroline" userId="43031ce9-49a3-4f5f-9207-5c83a33945f8" providerId="ADAL" clId="{C8C7D4C8-3FCC-4ED1-8ABA-E51547910AB7}" dt="2021-02-03T19:55:29.337" v="3543" actId="2696"/>
        <pc:sldMkLst>
          <pc:docMk/>
          <pc:sldMk cId="2091501405" sldId="297"/>
        </pc:sldMkLst>
      </pc:sldChg>
      <pc:sldChg chg="addSp delSp modSp add del">
        <pc:chgData name="McLeod, Caroline" userId="43031ce9-49a3-4f5f-9207-5c83a33945f8" providerId="ADAL" clId="{C8C7D4C8-3FCC-4ED1-8ABA-E51547910AB7}" dt="2021-02-03T19:09:52.927" v="556" actId="2696"/>
        <pc:sldMkLst>
          <pc:docMk/>
          <pc:sldMk cId="3834720269" sldId="297"/>
        </pc:sldMkLst>
        <pc:spChg chg="del">
          <ac:chgData name="McLeod, Caroline" userId="43031ce9-49a3-4f5f-9207-5c83a33945f8" providerId="ADAL" clId="{C8C7D4C8-3FCC-4ED1-8ABA-E51547910AB7}" dt="2021-02-03T19:07:14.895" v="530" actId="478"/>
          <ac:spMkLst>
            <pc:docMk/>
            <pc:sldMk cId="3834720269" sldId="297"/>
            <ac:spMk id="3" creationId="{FEA34CF9-F6E6-4CD8-9F40-DE774FCE3E27}"/>
          </ac:spMkLst>
        </pc:spChg>
        <pc:picChg chg="add mod">
          <ac:chgData name="McLeod, Caroline" userId="43031ce9-49a3-4f5f-9207-5c83a33945f8" providerId="ADAL" clId="{C8C7D4C8-3FCC-4ED1-8ABA-E51547910AB7}" dt="2021-02-03T19:07:21.040" v="534" actId="1076"/>
          <ac:picMkLst>
            <pc:docMk/>
            <pc:sldMk cId="3834720269" sldId="297"/>
            <ac:picMk id="4" creationId="{8B33A4E8-F785-46C5-864F-C4A4BA6C31C7}"/>
          </ac:picMkLst>
        </pc:picChg>
      </pc:sldChg>
      <pc:sldChg chg="addSp delSp modSp addCm delCm modCm modNotesTx">
        <pc:chgData name="McLeod, Caroline" userId="43031ce9-49a3-4f5f-9207-5c83a33945f8" providerId="ADAL" clId="{C8C7D4C8-3FCC-4ED1-8ABA-E51547910AB7}" dt="2021-02-03T20:28:24.357" v="6723" actId="20577"/>
        <pc:sldMkLst>
          <pc:docMk/>
          <pc:sldMk cId="142826157" sldId="298"/>
        </pc:sldMkLst>
        <pc:spChg chg="add del mod">
          <ac:chgData name="McLeod, Caroline" userId="43031ce9-49a3-4f5f-9207-5c83a33945f8" providerId="ADAL" clId="{C8C7D4C8-3FCC-4ED1-8ABA-E51547910AB7}" dt="2021-02-03T20:14:35.311" v="5841" actId="478"/>
          <ac:spMkLst>
            <pc:docMk/>
            <pc:sldMk cId="142826157" sldId="298"/>
            <ac:spMk id="2" creationId="{FF964BC2-2F80-4BC3-A855-52B491D0E4FD}"/>
          </ac:spMkLst>
        </pc:spChg>
        <pc:spChg chg="mod">
          <ac:chgData name="McLeod, Caroline" userId="43031ce9-49a3-4f5f-9207-5c83a33945f8" providerId="ADAL" clId="{C8C7D4C8-3FCC-4ED1-8ABA-E51547910AB7}" dt="2021-02-03T20:14:42.087" v="5844" actId="1076"/>
          <ac:spMkLst>
            <pc:docMk/>
            <pc:sldMk cId="142826157" sldId="298"/>
            <ac:spMk id="11" creationId="{EBE25EC9-D470-4BD9-A6F3-29593A0A0B50}"/>
          </ac:spMkLst>
        </pc:spChg>
        <pc:spChg chg="add mod">
          <ac:chgData name="McLeod, Caroline" userId="43031ce9-49a3-4f5f-9207-5c83a33945f8" providerId="ADAL" clId="{C8C7D4C8-3FCC-4ED1-8ABA-E51547910AB7}" dt="2021-02-03T20:15:08.228" v="5852" actId="1076"/>
          <ac:spMkLst>
            <pc:docMk/>
            <pc:sldMk cId="142826157" sldId="298"/>
            <ac:spMk id="12" creationId="{9C5EE787-8026-4736-A457-C45455826EEC}"/>
          </ac:spMkLst>
        </pc:spChg>
        <pc:spChg chg="mod">
          <ac:chgData name="McLeod, Caroline" userId="43031ce9-49a3-4f5f-9207-5c83a33945f8" providerId="ADAL" clId="{C8C7D4C8-3FCC-4ED1-8ABA-E51547910AB7}" dt="2021-02-03T20:15:08.228" v="5852" actId="1076"/>
          <ac:spMkLst>
            <pc:docMk/>
            <pc:sldMk cId="142826157" sldId="298"/>
            <ac:spMk id="14" creationId="{2F3426DB-3714-495C-A992-7878CDB47940}"/>
          </ac:spMkLst>
        </pc:spChg>
        <pc:spChg chg="add del mod">
          <ac:chgData name="McLeod, Caroline" userId="43031ce9-49a3-4f5f-9207-5c83a33945f8" providerId="ADAL" clId="{C8C7D4C8-3FCC-4ED1-8ABA-E51547910AB7}" dt="2021-02-03T20:14:32.981" v="5840" actId="478"/>
          <ac:spMkLst>
            <pc:docMk/>
            <pc:sldMk cId="142826157" sldId="298"/>
            <ac:spMk id="15" creationId="{DD07757D-4B2F-4657-ADC3-085A5CDCEBC8}"/>
          </ac:spMkLst>
        </pc:spChg>
        <pc:spChg chg="del">
          <ac:chgData name="McLeod, Caroline" userId="43031ce9-49a3-4f5f-9207-5c83a33945f8" providerId="ADAL" clId="{C8C7D4C8-3FCC-4ED1-8ABA-E51547910AB7}" dt="2021-02-03T20:06:00.244" v="5343" actId="478"/>
          <ac:spMkLst>
            <pc:docMk/>
            <pc:sldMk cId="142826157" sldId="298"/>
            <ac:spMk id="16" creationId="{30C80741-E2FD-44E3-9126-FD78CC9A446F}"/>
          </ac:spMkLst>
        </pc:spChg>
        <pc:picChg chg="del mod">
          <ac:chgData name="McLeod, Caroline" userId="43031ce9-49a3-4f5f-9207-5c83a33945f8" providerId="ADAL" clId="{C8C7D4C8-3FCC-4ED1-8ABA-E51547910AB7}" dt="2021-02-03T19:54:07.229" v="3529" actId="478"/>
          <ac:picMkLst>
            <pc:docMk/>
            <pc:sldMk cId="142826157" sldId="298"/>
            <ac:picMk id="3" creationId="{1A1AEBE6-B1E2-4D53-A8EF-166254F3857F}"/>
          </ac:picMkLst>
        </pc:picChg>
        <pc:picChg chg="del">
          <ac:chgData name="McLeod, Caroline" userId="43031ce9-49a3-4f5f-9207-5c83a33945f8" providerId="ADAL" clId="{C8C7D4C8-3FCC-4ED1-8ABA-E51547910AB7}" dt="2021-02-03T19:54:35.868" v="3531" actId="478"/>
          <ac:picMkLst>
            <pc:docMk/>
            <pc:sldMk cId="142826157" sldId="298"/>
            <ac:picMk id="17" creationId="{5F67B694-8A80-4C93-A64A-C213BE71DC4E}"/>
          </ac:picMkLst>
        </pc:picChg>
        <pc:picChg chg="add del mod">
          <ac:chgData name="McLeod, Caroline" userId="43031ce9-49a3-4f5f-9207-5c83a33945f8" providerId="ADAL" clId="{C8C7D4C8-3FCC-4ED1-8ABA-E51547910AB7}" dt="2021-02-03T19:53:30.505" v="3523" actId="478"/>
          <ac:picMkLst>
            <pc:docMk/>
            <pc:sldMk cId="142826157" sldId="298"/>
            <ac:picMk id="2050" creationId="{EBC533CA-B4C4-4500-B82F-DCE031C65681}"/>
          </ac:picMkLst>
        </pc:picChg>
        <pc:picChg chg="add mod">
          <ac:chgData name="McLeod, Caroline" userId="43031ce9-49a3-4f5f-9207-5c83a33945f8" providerId="ADAL" clId="{C8C7D4C8-3FCC-4ED1-8ABA-E51547910AB7}" dt="2021-02-03T20:15:08.228" v="5852" actId="1076"/>
          <ac:picMkLst>
            <pc:docMk/>
            <pc:sldMk cId="142826157" sldId="298"/>
            <ac:picMk id="2052" creationId="{097F4A88-AF6C-4706-8A84-7013E3C7CEA4}"/>
          </ac:picMkLst>
        </pc:picChg>
        <pc:picChg chg="add mod">
          <ac:chgData name="McLeod, Caroline" userId="43031ce9-49a3-4f5f-9207-5c83a33945f8" providerId="ADAL" clId="{C8C7D4C8-3FCC-4ED1-8ABA-E51547910AB7}" dt="2021-02-03T20:15:08.228" v="5852" actId="1076"/>
          <ac:picMkLst>
            <pc:docMk/>
            <pc:sldMk cId="142826157" sldId="298"/>
            <ac:picMk id="2054" creationId="{A24BE9B1-426C-4B4C-BF59-1001D405C64D}"/>
          </ac:picMkLst>
        </pc:picChg>
      </pc:sldChg>
      <pc:sldChg chg="add del">
        <pc:chgData name="McLeod, Caroline" userId="43031ce9-49a3-4f5f-9207-5c83a33945f8" providerId="ADAL" clId="{C8C7D4C8-3FCC-4ED1-8ABA-E51547910AB7}" dt="2021-02-04T02:01:50.607" v="6731" actId="2696"/>
        <pc:sldMkLst>
          <pc:docMk/>
          <pc:sldMk cId="1107951325" sldId="299"/>
        </pc:sldMkLst>
      </pc:sldChg>
      <pc:sldChg chg="modSp add modNotesTx">
        <pc:chgData name="McLeod, Caroline" userId="43031ce9-49a3-4f5f-9207-5c83a33945f8" providerId="ADAL" clId="{C8C7D4C8-3FCC-4ED1-8ABA-E51547910AB7}" dt="2021-02-04T02:02:46.086" v="6742" actId="20577"/>
        <pc:sldMkLst>
          <pc:docMk/>
          <pc:sldMk cId="2533658839" sldId="2845"/>
        </pc:sldMkLst>
        <pc:spChg chg="mod">
          <ac:chgData name="McLeod, Caroline" userId="43031ce9-49a3-4f5f-9207-5c83a33945f8" providerId="ADAL" clId="{C8C7D4C8-3FCC-4ED1-8ABA-E51547910AB7}" dt="2021-02-04T02:02:29.787" v="6738"/>
          <ac:spMkLst>
            <pc:docMk/>
            <pc:sldMk cId="2533658839" sldId="2845"/>
            <ac:spMk id="8" creationId="{304E8051-C53C-4637-9D45-E69F809AA009}"/>
          </ac:spMkLst>
        </pc:spChg>
      </pc:sldChg>
    </pc:docChg>
  </pc:docChgLst>
  <pc:docChgLst>
    <pc:chgData name="Brown, Carolyn" userId="S::cbrown3@greatdentalplans.com::8b30e861-04f5-44e3-8736-f71de39fe055" providerId="AD" clId="Web-{55FFE10C-535A-39B0-079D-38E520B71C14}"/>
    <pc:docChg chg="modSld">
      <pc:chgData name="Brown, Carolyn" userId="S::cbrown3@greatdentalplans.com::8b30e861-04f5-44e3-8736-f71de39fe055" providerId="AD" clId="Web-{55FFE10C-535A-39B0-079D-38E520B71C14}" dt="2021-02-08T17:32:03.925" v="438" actId="14100"/>
      <pc:docMkLst>
        <pc:docMk/>
      </pc:docMkLst>
      <pc:sldChg chg="addSp modSp">
        <pc:chgData name="Brown, Carolyn" userId="S::cbrown3@greatdentalplans.com::8b30e861-04f5-44e3-8736-f71de39fe055" providerId="AD" clId="Web-{55FFE10C-535A-39B0-079D-38E520B71C14}" dt="2021-02-08T17:31:36.002" v="435" actId="14100"/>
        <pc:sldMkLst>
          <pc:docMk/>
          <pc:sldMk cId="2119287878" sldId="279"/>
        </pc:sldMkLst>
        <pc:spChg chg="mod">
          <ac:chgData name="Brown, Carolyn" userId="S::cbrown3@greatdentalplans.com::8b30e861-04f5-44e3-8736-f71de39fe055" providerId="AD" clId="Web-{55FFE10C-535A-39B0-079D-38E520B71C14}" dt="2021-02-08T17:29:32.482" v="400" actId="20577"/>
          <ac:spMkLst>
            <pc:docMk/>
            <pc:sldMk cId="2119287878" sldId="279"/>
            <ac:spMk id="2" creationId="{C0ED1B09-A36B-4486-B16E-3AA52CB3E3A8}"/>
          </ac:spMkLst>
        </pc:spChg>
        <pc:spChg chg="add mod">
          <ac:chgData name="Brown, Carolyn" userId="S::cbrown3@greatdentalplans.com::8b30e861-04f5-44e3-8736-f71de39fe055" providerId="AD" clId="Web-{55FFE10C-535A-39B0-079D-38E520B71C14}" dt="2021-02-08T17:31:36.002" v="435" actId="14100"/>
          <ac:spMkLst>
            <pc:docMk/>
            <pc:sldMk cId="2119287878" sldId="279"/>
            <ac:spMk id="3" creationId="{ADC4E103-EB03-470F-B82C-3E8B53239F31}"/>
          </ac:spMkLst>
        </pc:spChg>
        <pc:spChg chg="add mod">
          <ac:chgData name="Brown, Carolyn" userId="S::cbrown3@greatdentalplans.com::8b30e861-04f5-44e3-8736-f71de39fe055" providerId="AD" clId="Web-{55FFE10C-535A-39B0-079D-38E520B71C14}" dt="2021-02-08T17:31:00.548" v="430" actId="1076"/>
          <ac:spMkLst>
            <pc:docMk/>
            <pc:sldMk cId="2119287878" sldId="279"/>
            <ac:spMk id="8" creationId="{130C6E75-CF24-4887-8C11-174FAC21745F}"/>
          </ac:spMkLst>
        </pc:spChg>
        <pc:spChg chg="add mod">
          <ac:chgData name="Brown, Carolyn" userId="S::cbrown3@greatdentalplans.com::8b30e861-04f5-44e3-8736-f71de39fe055" providerId="AD" clId="Web-{55FFE10C-535A-39B0-079D-38E520B71C14}" dt="2021-02-08T17:31:18.767" v="433" actId="14100"/>
          <ac:spMkLst>
            <pc:docMk/>
            <pc:sldMk cId="2119287878" sldId="279"/>
            <ac:spMk id="10" creationId="{49D0224D-5B2F-4784-978A-6E4E20099EF3}"/>
          </ac:spMkLst>
        </pc:spChg>
        <pc:spChg chg="add mod">
          <ac:chgData name="Brown, Carolyn" userId="S::cbrown3@greatdentalplans.com::8b30e861-04f5-44e3-8736-f71de39fe055" providerId="AD" clId="Web-{55FFE10C-535A-39B0-079D-38E520B71C14}" dt="2021-02-08T17:31:09.204" v="432" actId="1076"/>
          <ac:spMkLst>
            <pc:docMk/>
            <pc:sldMk cId="2119287878" sldId="279"/>
            <ac:spMk id="12" creationId="{5CDDF9BD-55EB-48D9-8CB2-5CDCC802B0E9}"/>
          </ac:spMkLst>
        </pc:spChg>
        <pc:spChg chg="add mod">
          <ac:chgData name="Brown, Carolyn" userId="S::cbrown3@greatdentalplans.com::8b30e861-04f5-44e3-8736-f71de39fe055" providerId="AD" clId="Web-{55FFE10C-535A-39B0-079D-38E520B71C14}" dt="2021-02-08T17:30:46.891" v="427" actId="1076"/>
          <ac:spMkLst>
            <pc:docMk/>
            <pc:sldMk cId="2119287878" sldId="279"/>
            <ac:spMk id="14" creationId="{92DAF2D9-A98B-4396-9217-90C6613E23B8}"/>
          </ac:spMkLst>
        </pc:spChg>
        <pc:spChg chg="add mod">
          <ac:chgData name="Brown, Carolyn" userId="S::cbrown3@greatdentalplans.com::8b30e861-04f5-44e3-8736-f71de39fe055" providerId="AD" clId="Web-{55FFE10C-535A-39B0-079D-38E520B71C14}" dt="2021-02-08T17:30:41.938" v="426" actId="1076"/>
          <ac:spMkLst>
            <pc:docMk/>
            <pc:sldMk cId="2119287878" sldId="279"/>
            <ac:spMk id="16" creationId="{F77243D8-9BE9-42FC-9D41-C43A9A142276}"/>
          </ac:spMkLst>
        </pc:spChg>
        <pc:spChg chg="add mod">
          <ac:chgData name="Brown, Carolyn" userId="S::cbrown3@greatdentalplans.com::8b30e861-04f5-44e3-8736-f71de39fe055" providerId="AD" clId="Web-{55FFE10C-535A-39B0-079D-38E520B71C14}" dt="2021-02-08T17:31:24.705" v="434" actId="20577"/>
          <ac:spMkLst>
            <pc:docMk/>
            <pc:sldMk cId="2119287878" sldId="279"/>
            <ac:spMk id="18" creationId="{EAF74230-6ED9-484D-8AE9-2C147FD6CDB2}"/>
          </ac:spMkLst>
        </pc:spChg>
      </pc:sldChg>
      <pc:sldChg chg="modSp">
        <pc:chgData name="Brown, Carolyn" userId="S::cbrown3@greatdentalplans.com::8b30e861-04f5-44e3-8736-f71de39fe055" providerId="AD" clId="Web-{55FFE10C-535A-39B0-079D-38E520B71C14}" dt="2021-02-08T17:32:03.925" v="438" actId="14100"/>
        <pc:sldMkLst>
          <pc:docMk/>
          <pc:sldMk cId="2533658839" sldId="2845"/>
        </pc:sldMkLst>
        <pc:spChg chg="mod">
          <ac:chgData name="Brown, Carolyn" userId="S::cbrown3@greatdentalplans.com::8b30e861-04f5-44e3-8736-f71de39fe055" providerId="AD" clId="Web-{55FFE10C-535A-39B0-079D-38E520B71C14}" dt="2021-02-08T17:32:03.925" v="438" actId="14100"/>
          <ac:spMkLst>
            <pc:docMk/>
            <pc:sldMk cId="2533658839" sldId="2845"/>
            <ac:spMk id="9" creationId="{685F9EC6-7183-4A9C-A0E4-378621950FF2}"/>
          </ac:spMkLst>
        </pc:spChg>
        <pc:cxnChg chg="mod">
          <ac:chgData name="Brown, Carolyn" userId="S::cbrown3@greatdentalplans.com::8b30e861-04f5-44e3-8736-f71de39fe055" providerId="AD" clId="Web-{55FFE10C-535A-39B0-079D-38E520B71C14}" dt="2021-02-08T17:31:59.221" v="437" actId="1076"/>
          <ac:cxnSpMkLst>
            <pc:docMk/>
            <pc:sldMk cId="2533658839" sldId="2845"/>
            <ac:cxnSpMk id="20" creationId="{CCD66362-F4D2-F942-93AB-DE96AC75CB0F}"/>
          </ac:cxnSpMkLst>
        </pc:cxnChg>
      </pc:sldChg>
    </pc:docChg>
  </pc:docChgLst>
  <pc:docChgLst>
    <pc:chgData name="McLeod, Caroline" userId="S::cmcleod@greatdentalplans.com::43031ce9-49a3-4f5f-9207-5c83a33945f8" providerId="AD" clId="Web-{FC6AAA91-8D70-12E7-5E48-85BD5672AEB5}"/>
    <pc:docChg chg="modSld">
      <pc:chgData name="McLeod, Caroline" userId="S::cmcleod@greatdentalplans.com::43031ce9-49a3-4f5f-9207-5c83a33945f8" providerId="AD" clId="Web-{FC6AAA91-8D70-12E7-5E48-85BD5672AEB5}" dt="2021-02-05T21:17:15.984" v="95"/>
      <pc:docMkLst>
        <pc:docMk/>
      </pc:docMkLst>
      <pc:sldChg chg="modNotes">
        <pc:chgData name="McLeod, Caroline" userId="S::cmcleod@greatdentalplans.com::43031ce9-49a3-4f5f-9207-5c83a33945f8" providerId="AD" clId="Web-{FC6AAA91-8D70-12E7-5E48-85BD5672AEB5}" dt="2021-02-05T21:17:15.984" v="95"/>
        <pc:sldMkLst>
          <pc:docMk/>
          <pc:sldMk cId="3725104515" sldId="275"/>
        </pc:sldMkLst>
      </pc:sldChg>
    </pc:docChg>
  </pc:docChgLst>
  <pc:docChgLst>
    <pc:chgData name="McLeod, Caroline" userId="S::cmcleod@greatdentalplans.com::43031ce9-49a3-4f5f-9207-5c83a33945f8" providerId="AD" clId="Web-{F705B82D-9E26-F9CC-6D0E-F11AAA6D5F9D}"/>
    <pc:docChg chg="modSld">
      <pc:chgData name="McLeod, Caroline" userId="S::cmcleod@greatdentalplans.com::43031ce9-49a3-4f5f-9207-5c83a33945f8" providerId="AD" clId="Web-{F705B82D-9E26-F9CC-6D0E-F11AAA6D5F9D}" dt="2021-02-08T17:51:18.665" v="133"/>
      <pc:docMkLst>
        <pc:docMk/>
      </pc:docMkLst>
      <pc:sldChg chg="modSp">
        <pc:chgData name="McLeod, Caroline" userId="S::cmcleod@greatdentalplans.com::43031ce9-49a3-4f5f-9207-5c83a33945f8" providerId="AD" clId="Web-{F705B82D-9E26-F9CC-6D0E-F11AAA6D5F9D}" dt="2021-02-08T17:50:42.757" v="129" actId="14100"/>
        <pc:sldMkLst>
          <pc:docMk/>
          <pc:sldMk cId="1279239907" sldId="276"/>
        </pc:sldMkLst>
        <pc:spChg chg="mod">
          <ac:chgData name="McLeod, Caroline" userId="S::cmcleod@greatdentalplans.com::43031ce9-49a3-4f5f-9207-5c83a33945f8" providerId="AD" clId="Web-{F705B82D-9E26-F9CC-6D0E-F11AAA6D5F9D}" dt="2021-02-08T17:50:42.757" v="129" actId="14100"/>
          <ac:spMkLst>
            <pc:docMk/>
            <pc:sldMk cId="1279239907" sldId="276"/>
            <ac:spMk id="11" creationId="{478101FA-335F-4F70-9169-05E641D80F57}"/>
          </ac:spMkLst>
        </pc:spChg>
      </pc:sldChg>
      <pc:sldChg chg="modSp">
        <pc:chgData name="McLeod, Caroline" userId="S::cmcleod@greatdentalplans.com::43031ce9-49a3-4f5f-9207-5c83a33945f8" providerId="AD" clId="Web-{F705B82D-9E26-F9CC-6D0E-F11AAA6D5F9D}" dt="2021-02-08T17:51:00.820" v="130" actId="1076"/>
        <pc:sldMkLst>
          <pc:docMk/>
          <pc:sldMk cId="2119287878" sldId="279"/>
        </pc:sldMkLst>
        <pc:spChg chg="mod">
          <ac:chgData name="McLeod, Caroline" userId="S::cmcleod@greatdentalplans.com::43031ce9-49a3-4f5f-9207-5c83a33945f8" providerId="AD" clId="Web-{F705B82D-9E26-F9CC-6D0E-F11AAA6D5F9D}" dt="2021-02-08T17:51:00.820" v="130" actId="1076"/>
          <ac:spMkLst>
            <pc:docMk/>
            <pc:sldMk cId="2119287878" sldId="279"/>
            <ac:spMk id="2" creationId="{C0ED1B09-A36B-4486-B16E-3AA52CB3E3A8}"/>
          </ac:spMkLst>
        </pc:spChg>
      </pc:sldChg>
      <pc:sldChg chg="delCm">
        <pc:chgData name="McLeod, Caroline" userId="S::cmcleod@greatdentalplans.com::43031ce9-49a3-4f5f-9207-5c83a33945f8" providerId="AD" clId="Web-{F705B82D-9E26-F9CC-6D0E-F11AAA6D5F9D}" dt="2021-02-08T17:51:18.665" v="133"/>
        <pc:sldMkLst>
          <pc:docMk/>
          <pc:sldMk cId="2432183697" sldId="291"/>
        </pc:sldMkLst>
      </pc:sldChg>
      <pc:sldChg chg="modNotes">
        <pc:chgData name="McLeod, Caroline" userId="S::cmcleod@greatdentalplans.com::43031ce9-49a3-4f5f-9207-5c83a33945f8" providerId="AD" clId="Web-{F705B82D-9E26-F9CC-6D0E-F11AAA6D5F9D}" dt="2021-02-08T17:49:29.956" v="120"/>
        <pc:sldMkLst>
          <pc:docMk/>
          <pc:sldMk cId="3765382948" sldId="295"/>
        </pc:sldMkLst>
      </pc:sldChg>
      <pc:sldChg chg="delCm">
        <pc:chgData name="McLeod, Caroline" userId="S::cmcleod@greatdentalplans.com::43031ce9-49a3-4f5f-9207-5c83a33945f8" providerId="AD" clId="Web-{F705B82D-9E26-F9CC-6D0E-F11AAA6D5F9D}" dt="2021-02-08T17:51:12.805" v="132"/>
        <pc:sldMkLst>
          <pc:docMk/>
          <pc:sldMk cId="4246495997" sldId="296"/>
        </pc:sldMkLst>
      </pc:sldChg>
      <pc:sldChg chg="delCm">
        <pc:chgData name="McLeod, Caroline" userId="S::cmcleod@greatdentalplans.com::43031ce9-49a3-4f5f-9207-5c83a33945f8" providerId="AD" clId="Web-{F705B82D-9E26-F9CC-6D0E-F11AAA6D5F9D}" dt="2021-02-08T17:51:07.336" v="131"/>
        <pc:sldMkLst>
          <pc:docMk/>
          <pc:sldMk cId="2533658839" sldId="2845"/>
        </pc:sldMkLst>
      </pc:sldChg>
    </pc:docChg>
  </pc:docChgLst>
  <pc:docChgLst>
    <pc:chgData name="McLeod, Caroline" userId="S::cmcleod@greatdentalplans.com::43031ce9-49a3-4f5f-9207-5c83a33945f8" providerId="AD" clId="Web-{1F48C6EF-EC8B-FF75-2CE9-39570354D513}"/>
    <pc:docChg chg="modSld">
      <pc:chgData name="McLeod, Caroline" userId="S::cmcleod@greatdentalplans.com::43031ce9-49a3-4f5f-9207-5c83a33945f8" providerId="AD" clId="Web-{1F48C6EF-EC8B-FF75-2CE9-39570354D513}" dt="2021-01-27T21:46:52.571" v="7" actId="1076"/>
      <pc:docMkLst>
        <pc:docMk/>
      </pc:docMkLst>
      <pc:sldChg chg="addSp delSp modSp addCm">
        <pc:chgData name="McLeod, Caroline" userId="S::cmcleod@greatdentalplans.com::43031ce9-49a3-4f5f-9207-5c83a33945f8" providerId="AD" clId="Web-{1F48C6EF-EC8B-FF75-2CE9-39570354D513}" dt="2021-01-27T21:46:52.571" v="7" actId="1076"/>
        <pc:sldMkLst>
          <pc:docMk/>
          <pc:sldMk cId="1279239907" sldId="276"/>
        </pc:sldMkLst>
        <pc:picChg chg="add del mod">
          <ac:chgData name="McLeod, Caroline" userId="S::cmcleod@greatdentalplans.com::43031ce9-49a3-4f5f-9207-5c83a33945f8" providerId="AD" clId="Web-{1F48C6EF-EC8B-FF75-2CE9-39570354D513}" dt="2021-01-27T21:46:07.054" v="1"/>
          <ac:picMkLst>
            <pc:docMk/>
            <pc:sldMk cId="1279239907" sldId="276"/>
            <ac:picMk id="4" creationId="{3AB3A435-5EDA-4C1E-9C00-1D19CE34DF89}"/>
          </ac:picMkLst>
        </pc:picChg>
        <pc:picChg chg="add mod">
          <ac:chgData name="McLeod, Caroline" userId="S::cmcleod@greatdentalplans.com::43031ce9-49a3-4f5f-9207-5c83a33945f8" providerId="AD" clId="Web-{1F48C6EF-EC8B-FF75-2CE9-39570354D513}" dt="2021-01-27T21:46:52.571" v="7" actId="1076"/>
          <ac:picMkLst>
            <pc:docMk/>
            <pc:sldMk cId="1279239907" sldId="276"/>
            <ac:picMk id="5" creationId="{FCA99F3B-E128-4560-A1D8-25F78734AB80}"/>
          </ac:picMkLst>
        </pc:picChg>
      </pc:sldChg>
    </pc:docChg>
  </pc:docChgLst>
  <pc:docChgLst>
    <pc:chgData name="McLeod, Caroline" userId="S::cmcleod@greatdentalplans.com::43031ce9-49a3-4f5f-9207-5c83a33945f8" providerId="AD" clId="Web-{0D447877-C10D-B575-E9C8-2F9315078FE7}"/>
    <pc:docChg chg="delSld modSld">
      <pc:chgData name="McLeod, Caroline" userId="S::cmcleod@greatdentalplans.com::43031ce9-49a3-4f5f-9207-5c83a33945f8" providerId="AD" clId="Web-{0D447877-C10D-B575-E9C8-2F9315078FE7}" dt="2021-01-28T17:02:40.281" v="1029" actId="1076"/>
      <pc:docMkLst>
        <pc:docMk/>
      </pc:docMkLst>
      <pc:sldChg chg="addSp delSp modSp addAnim delAnim delCm modNotes">
        <pc:chgData name="McLeod, Caroline" userId="S::cmcleod@greatdentalplans.com::43031ce9-49a3-4f5f-9207-5c83a33945f8" providerId="AD" clId="Web-{0D447877-C10D-B575-E9C8-2F9315078FE7}" dt="2021-01-28T17:02:13.141" v="1024" actId="1076"/>
        <pc:sldMkLst>
          <pc:docMk/>
          <pc:sldMk cId="3578281583" sldId="273"/>
        </pc:sldMkLst>
        <pc:spChg chg="del">
          <ac:chgData name="McLeod, Caroline" userId="S::cmcleod@greatdentalplans.com::43031ce9-49a3-4f5f-9207-5c83a33945f8" providerId="AD" clId="Web-{0D447877-C10D-B575-E9C8-2F9315078FE7}" dt="2021-01-28T16:45:44.290" v="12"/>
          <ac:spMkLst>
            <pc:docMk/>
            <pc:sldMk cId="3578281583" sldId="273"/>
            <ac:spMk id="2" creationId="{4258E63E-FD47-4B2C-86E8-E8EB717E50D0}"/>
          </ac:spMkLst>
        </pc:spChg>
        <pc:spChg chg="mod">
          <ac:chgData name="McLeod, Caroline" userId="S::cmcleod@greatdentalplans.com::43031ce9-49a3-4f5f-9207-5c83a33945f8" providerId="AD" clId="Web-{0D447877-C10D-B575-E9C8-2F9315078FE7}" dt="2021-01-28T16:48:50.445" v="170" actId="20577"/>
          <ac:spMkLst>
            <pc:docMk/>
            <pc:sldMk cId="3578281583" sldId="273"/>
            <ac:spMk id="6" creationId="{0B02E11B-6D28-4690-846A-9A12B28BB52E}"/>
          </ac:spMkLst>
        </pc:spChg>
        <pc:spChg chg="mod">
          <ac:chgData name="McLeod, Caroline" userId="S::cmcleod@greatdentalplans.com::43031ce9-49a3-4f5f-9207-5c83a33945f8" providerId="AD" clId="Web-{0D447877-C10D-B575-E9C8-2F9315078FE7}" dt="2021-01-28T16:59:09.143" v="967" actId="1076"/>
          <ac:spMkLst>
            <pc:docMk/>
            <pc:sldMk cId="3578281583" sldId="273"/>
            <ac:spMk id="7" creationId="{71E99223-A065-4690-B96C-81FE0EDF3AFD}"/>
          </ac:spMkLst>
        </pc:spChg>
        <pc:spChg chg="add del mod">
          <ac:chgData name="McLeod, Caroline" userId="S::cmcleod@greatdentalplans.com::43031ce9-49a3-4f5f-9207-5c83a33945f8" providerId="AD" clId="Web-{0D447877-C10D-B575-E9C8-2F9315078FE7}" dt="2021-01-28T17:00:21.751" v="989"/>
          <ac:spMkLst>
            <pc:docMk/>
            <pc:sldMk cId="3578281583" sldId="273"/>
            <ac:spMk id="8" creationId="{4FE63E0A-3CED-4BED-BF6F-375ADE75CEF0}"/>
          </ac:spMkLst>
        </pc:spChg>
        <pc:spChg chg="del">
          <ac:chgData name="McLeod, Caroline" userId="S::cmcleod@greatdentalplans.com::43031ce9-49a3-4f5f-9207-5c83a33945f8" providerId="AD" clId="Web-{0D447877-C10D-B575-E9C8-2F9315078FE7}" dt="2021-01-28T16:46:07.665" v="23"/>
          <ac:spMkLst>
            <pc:docMk/>
            <pc:sldMk cId="3578281583" sldId="273"/>
            <ac:spMk id="9" creationId="{A450AFBB-BC8B-4B99-926B-23D778487FA4}"/>
          </ac:spMkLst>
        </pc:spChg>
        <pc:spChg chg="del">
          <ac:chgData name="McLeod, Caroline" userId="S::cmcleod@greatdentalplans.com::43031ce9-49a3-4f5f-9207-5c83a33945f8" providerId="AD" clId="Web-{0D447877-C10D-B575-E9C8-2F9315078FE7}" dt="2021-01-28T16:46:07.665" v="22"/>
          <ac:spMkLst>
            <pc:docMk/>
            <pc:sldMk cId="3578281583" sldId="273"/>
            <ac:spMk id="10" creationId="{B12981A8-AE90-4116-AB07-D5BEB5F8B50E}"/>
          </ac:spMkLst>
        </pc:spChg>
        <pc:spChg chg="mod">
          <ac:chgData name="McLeod, Caroline" userId="S::cmcleod@greatdentalplans.com::43031ce9-49a3-4f5f-9207-5c83a33945f8" providerId="AD" clId="Web-{0D447877-C10D-B575-E9C8-2F9315078FE7}" dt="2021-01-28T16:59:09.189" v="968" actId="1076"/>
          <ac:spMkLst>
            <pc:docMk/>
            <pc:sldMk cId="3578281583" sldId="273"/>
            <ac:spMk id="11" creationId="{2C7C828B-D372-4F5A-BC81-6EFB63B31F33}"/>
          </ac:spMkLst>
        </pc:spChg>
        <pc:spChg chg="mod">
          <ac:chgData name="McLeod, Caroline" userId="S::cmcleod@greatdentalplans.com::43031ce9-49a3-4f5f-9207-5c83a33945f8" providerId="AD" clId="Web-{0D447877-C10D-B575-E9C8-2F9315078FE7}" dt="2021-01-28T16:59:09.236" v="969" actId="1076"/>
          <ac:spMkLst>
            <pc:docMk/>
            <pc:sldMk cId="3578281583" sldId="273"/>
            <ac:spMk id="12" creationId="{13A21C6E-95D2-4A80-9D86-E72DE5DF1DCC}"/>
          </ac:spMkLst>
        </pc:spChg>
        <pc:spChg chg="mod">
          <ac:chgData name="McLeod, Caroline" userId="S::cmcleod@greatdentalplans.com::43031ce9-49a3-4f5f-9207-5c83a33945f8" providerId="AD" clId="Web-{0D447877-C10D-B575-E9C8-2F9315078FE7}" dt="2021-01-28T16:59:09.252" v="970" actId="1076"/>
          <ac:spMkLst>
            <pc:docMk/>
            <pc:sldMk cId="3578281583" sldId="273"/>
            <ac:spMk id="13" creationId="{529BB0ED-8A29-4667-9D53-D0708A4E42E8}"/>
          </ac:spMkLst>
        </pc:spChg>
        <pc:spChg chg="mod">
          <ac:chgData name="McLeod, Caroline" userId="S::cmcleod@greatdentalplans.com::43031ce9-49a3-4f5f-9207-5c83a33945f8" providerId="AD" clId="Web-{0D447877-C10D-B575-E9C8-2F9315078FE7}" dt="2021-01-28T16:59:09.283" v="971" actId="1076"/>
          <ac:spMkLst>
            <pc:docMk/>
            <pc:sldMk cId="3578281583" sldId="273"/>
            <ac:spMk id="14" creationId="{2AF95A4B-97C5-4D50-B641-57B3552E9029}"/>
          </ac:spMkLst>
        </pc:spChg>
        <pc:spChg chg="del">
          <ac:chgData name="McLeod, Caroline" userId="S::cmcleod@greatdentalplans.com::43031ce9-49a3-4f5f-9207-5c83a33945f8" providerId="AD" clId="Web-{0D447877-C10D-B575-E9C8-2F9315078FE7}" dt="2021-01-28T16:45:40.368" v="11"/>
          <ac:spMkLst>
            <pc:docMk/>
            <pc:sldMk cId="3578281583" sldId="273"/>
            <ac:spMk id="15" creationId="{B81AB37F-CD90-435B-AC65-48CAA510420E}"/>
          </ac:spMkLst>
        </pc:spChg>
        <pc:spChg chg="del">
          <ac:chgData name="McLeod, Caroline" userId="S::cmcleod@greatdentalplans.com::43031ce9-49a3-4f5f-9207-5c83a33945f8" providerId="AD" clId="Web-{0D447877-C10D-B575-E9C8-2F9315078FE7}" dt="2021-01-28T16:45:40.353" v="10"/>
          <ac:spMkLst>
            <pc:docMk/>
            <pc:sldMk cId="3578281583" sldId="273"/>
            <ac:spMk id="16" creationId="{AE124BA3-5DC2-42B8-8E54-9A3D5E9226D3}"/>
          </ac:spMkLst>
        </pc:spChg>
        <pc:spChg chg="del">
          <ac:chgData name="McLeod, Caroline" userId="S::cmcleod@greatdentalplans.com::43031ce9-49a3-4f5f-9207-5c83a33945f8" providerId="AD" clId="Web-{0D447877-C10D-B575-E9C8-2F9315078FE7}" dt="2021-01-28T16:45:40.353" v="9"/>
          <ac:spMkLst>
            <pc:docMk/>
            <pc:sldMk cId="3578281583" sldId="273"/>
            <ac:spMk id="17" creationId="{CB440631-8E64-4922-AD70-BEACA287AD22}"/>
          </ac:spMkLst>
        </pc:spChg>
        <pc:spChg chg="del">
          <ac:chgData name="McLeod, Caroline" userId="S::cmcleod@greatdentalplans.com::43031ce9-49a3-4f5f-9207-5c83a33945f8" providerId="AD" clId="Web-{0D447877-C10D-B575-E9C8-2F9315078FE7}" dt="2021-01-28T16:45:40.353" v="8"/>
          <ac:spMkLst>
            <pc:docMk/>
            <pc:sldMk cId="3578281583" sldId="273"/>
            <ac:spMk id="18" creationId="{D8759982-1589-48F6-A692-D9EFEF426CEE}"/>
          </ac:spMkLst>
        </pc:spChg>
        <pc:spChg chg="del">
          <ac:chgData name="McLeod, Caroline" userId="S::cmcleod@greatdentalplans.com::43031ce9-49a3-4f5f-9207-5c83a33945f8" providerId="AD" clId="Web-{0D447877-C10D-B575-E9C8-2F9315078FE7}" dt="2021-01-28T16:45:40.337" v="7"/>
          <ac:spMkLst>
            <pc:docMk/>
            <pc:sldMk cId="3578281583" sldId="273"/>
            <ac:spMk id="19" creationId="{859126D6-0595-4EA3-8EDF-B5DF5131C230}"/>
          </ac:spMkLst>
        </pc:spChg>
        <pc:spChg chg="del">
          <ac:chgData name="McLeod, Caroline" userId="S::cmcleod@greatdentalplans.com::43031ce9-49a3-4f5f-9207-5c83a33945f8" providerId="AD" clId="Web-{0D447877-C10D-B575-E9C8-2F9315078FE7}" dt="2021-01-28T16:45:40.337" v="6"/>
          <ac:spMkLst>
            <pc:docMk/>
            <pc:sldMk cId="3578281583" sldId="273"/>
            <ac:spMk id="20" creationId="{0A1306C2-B677-45F9-BE43-1015919CB2D9}"/>
          </ac:spMkLst>
        </pc:spChg>
        <pc:spChg chg="del">
          <ac:chgData name="McLeod, Caroline" userId="S::cmcleod@greatdentalplans.com::43031ce9-49a3-4f5f-9207-5c83a33945f8" providerId="AD" clId="Web-{0D447877-C10D-B575-E9C8-2F9315078FE7}" dt="2021-01-28T16:45:40.337" v="5"/>
          <ac:spMkLst>
            <pc:docMk/>
            <pc:sldMk cId="3578281583" sldId="273"/>
            <ac:spMk id="21" creationId="{9E9652D0-7EEA-4AD1-9ECF-482E6117E578}"/>
          </ac:spMkLst>
        </pc:spChg>
        <pc:spChg chg="mod">
          <ac:chgData name="McLeod, Caroline" userId="S::cmcleod@greatdentalplans.com::43031ce9-49a3-4f5f-9207-5c83a33945f8" providerId="AD" clId="Web-{0D447877-C10D-B575-E9C8-2F9315078FE7}" dt="2021-01-28T16:59:09.299" v="972" actId="1076"/>
          <ac:spMkLst>
            <pc:docMk/>
            <pc:sldMk cId="3578281583" sldId="273"/>
            <ac:spMk id="22" creationId="{88657DEF-EF0A-483D-AA86-1E659508783A}"/>
          </ac:spMkLst>
        </pc:spChg>
        <pc:spChg chg="del mod">
          <ac:chgData name="McLeod, Caroline" userId="S::cmcleod@greatdentalplans.com::43031ce9-49a3-4f5f-9207-5c83a33945f8" providerId="AD" clId="Web-{0D447877-C10D-B575-E9C8-2F9315078FE7}" dt="2021-01-28T16:58:33.205" v="955"/>
          <ac:spMkLst>
            <pc:docMk/>
            <pc:sldMk cId="3578281583" sldId="273"/>
            <ac:spMk id="23" creationId="{3AA68C7C-263A-4AA8-A7D7-3A23CBE13803}"/>
          </ac:spMkLst>
        </pc:spChg>
        <pc:spChg chg="del">
          <ac:chgData name="McLeod, Caroline" userId="S::cmcleod@greatdentalplans.com::43031ce9-49a3-4f5f-9207-5c83a33945f8" providerId="AD" clId="Web-{0D447877-C10D-B575-E9C8-2F9315078FE7}" dt="2021-01-28T16:46:07.665" v="21"/>
          <ac:spMkLst>
            <pc:docMk/>
            <pc:sldMk cId="3578281583" sldId="273"/>
            <ac:spMk id="24" creationId="{DD6CC340-1E77-45B3-A842-18F73163ADA9}"/>
          </ac:spMkLst>
        </pc:spChg>
        <pc:spChg chg="del">
          <ac:chgData name="McLeod, Caroline" userId="S::cmcleod@greatdentalplans.com::43031ce9-49a3-4f5f-9207-5c83a33945f8" providerId="AD" clId="Web-{0D447877-C10D-B575-E9C8-2F9315078FE7}" dt="2021-01-28T16:46:07.649" v="20"/>
          <ac:spMkLst>
            <pc:docMk/>
            <pc:sldMk cId="3578281583" sldId="273"/>
            <ac:spMk id="25" creationId="{8CC2E127-6443-45BB-80BC-0D25D50F7519}"/>
          </ac:spMkLst>
        </pc:spChg>
        <pc:spChg chg="del">
          <ac:chgData name="McLeod, Caroline" userId="S::cmcleod@greatdentalplans.com::43031ce9-49a3-4f5f-9207-5c83a33945f8" providerId="AD" clId="Web-{0D447877-C10D-B575-E9C8-2F9315078FE7}" dt="2021-01-28T16:46:07.649" v="19"/>
          <ac:spMkLst>
            <pc:docMk/>
            <pc:sldMk cId="3578281583" sldId="273"/>
            <ac:spMk id="26" creationId="{29833A2B-1520-45EB-B0B7-9D2B8E5ADB47}"/>
          </ac:spMkLst>
        </pc:spChg>
        <pc:spChg chg="del">
          <ac:chgData name="McLeod, Caroline" userId="S::cmcleod@greatdentalplans.com::43031ce9-49a3-4f5f-9207-5c83a33945f8" providerId="AD" clId="Web-{0D447877-C10D-B575-E9C8-2F9315078FE7}" dt="2021-01-28T16:46:07.587" v="18"/>
          <ac:spMkLst>
            <pc:docMk/>
            <pc:sldMk cId="3578281583" sldId="273"/>
            <ac:spMk id="27" creationId="{5F1328BC-8D9C-45BE-B2BD-A97924A63A6D}"/>
          </ac:spMkLst>
        </pc:spChg>
        <pc:spChg chg="add mod">
          <ac:chgData name="McLeod, Caroline" userId="S::cmcleod@greatdentalplans.com::43031ce9-49a3-4f5f-9207-5c83a33945f8" providerId="AD" clId="Web-{0D447877-C10D-B575-E9C8-2F9315078FE7}" dt="2021-01-28T17:00:59.189" v="1003" actId="1076"/>
          <ac:spMkLst>
            <pc:docMk/>
            <pc:sldMk cId="3578281583" sldId="273"/>
            <ac:spMk id="29" creationId="{C723D749-E560-4104-9B2D-96E714973B50}"/>
          </ac:spMkLst>
        </pc:spChg>
        <pc:spChg chg="add mod">
          <ac:chgData name="McLeod, Caroline" userId="S::cmcleod@greatdentalplans.com::43031ce9-49a3-4f5f-9207-5c83a33945f8" providerId="AD" clId="Web-{0D447877-C10D-B575-E9C8-2F9315078FE7}" dt="2021-01-28T17:01:41.079" v="1013" actId="1076"/>
          <ac:spMkLst>
            <pc:docMk/>
            <pc:sldMk cId="3578281583" sldId="273"/>
            <ac:spMk id="36" creationId="{3B18CDD2-F6F0-42BA-AFFE-4FB4E878F8F5}"/>
          </ac:spMkLst>
        </pc:spChg>
        <pc:spChg chg="del mod">
          <ac:chgData name="McLeod, Caroline" userId="S::cmcleod@greatdentalplans.com::43031ce9-49a3-4f5f-9207-5c83a33945f8" providerId="AD" clId="Web-{0D447877-C10D-B575-E9C8-2F9315078FE7}" dt="2021-01-28T16:58:35.284" v="956"/>
          <ac:spMkLst>
            <pc:docMk/>
            <pc:sldMk cId="3578281583" sldId="273"/>
            <ac:spMk id="37" creationId="{F768AE1C-655A-4E0B-B785-0E366502CAD6}"/>
          </ac:spMkLst>
        </pc:spChg>
        <pc:spChg chg="del mod">
          <ac:chgData name="McLeod, Caroline" userId="S::cmcleod@greatdentalplans.com::43031ce9-49a3-4f5f-9207-5c83a33945f8" providerId="AD" clId="Web-{0D447877-C10D-B575-E9C8-2F9315078FE7}" dt="2021-01-28T16:58:41.393" v="959"/>
          <ac:spMkLst>
            <pc:docMk/>
            <pc:sldMk cId="3578281583" sldId="273"/>
            <ac:spMk id="38" creationId="{7102E250-F4B0-4EFD-8534-65B587720285}"/>
          </ac:spMkLst>
        </pc:spChg>
        <pc:spChg chg="del mod">
          <ac:chgData name="McLeod, Caroline" userId="S::cmcleod@greatdentalplans.com::43031ce9-49a3-4f5f-9207-5c83a33945f8" providerId="AD" clId="Web-{0D447877-C10D-B575-E9C8-2F9315078FE7}" dt="2021-01-28T16:58:27.565" v="953"/>
          <ac:spMkLst>
            <pc:docMk/>
            <pc:sldMk cId="3578281583" sldId="273"/>
            <ac:spMk id="41" creationId="{DA5341D6-FF38-4920-A003-A4160D9962BE}"/>
          </ac:spMkLst>
        </pc:spChg>
        <pc:spChg chg="add mod">
          <ac:chgData name="McLeod, Caroline" userId="S::cmcleod@greatdentalplans.com::43031ce9-49a3-4f5f-9207-5c83a33945f8" providerId="AD" clId="Web-{0D447877-C10D-B575-E9C8-2F9315078FE7}" dt="2021-01-28T17:02:13.141" v="1024" actId="1076"/>
          <ac:spMkLst>
            <pc:docMk/>
            <pc:sldMk cId="3578281583" sldId="273"/>
            <ac:spMk id="43" creationId="{27591241-B196-42A9-AE85-7B2CAB057412}"/>
          </ac:spMkLst>
        </pc:spChg>
        <pc:picChg chg="add mod">
          <ac:chgData name="McLeod, Caroline" userId="S::cmcleod@greatdentalplans.com::43031ce9-49a3-4f5f-9207-5c83a33945f8" providerId="AD" clId="Web-{0D447877-C10D-B575-E9C8-2F9315078FE7}" dt="2021-01-28T17:00:56.392" v="1002" actId="1076"/>
          <ac:picMkLst>
            <pc:docMk/>
            <pc:sldMk cId="3578281583" sldId="273"/>
            <ac:picMk id="3" creationId="{8EFFE911-BD77-476D-B43E-9DBA8CEBBB2A}"/>
          </ac:picMkLst>
        </pc:picChg>
        <pc:cxnChg chg="del mod">
          <ac:chgData name="McLeod, Caroline" userId="S::cmcleod@greatdentalplans.com::43031ce9-49a3-4f5f-9207-5c83a33945f8" providerId="AD" clId="Web-{0D447877-C10D-B575-E9C8-2F9315078FE7}" dt="2021-01-28T16:58:37.643" v="957"/>
          <ac:cxnSpMkLst>
            <pc:docMk/>
            <pc:sldMk cId="3578281583" sldId="273"/>
            <ac:cxnSpMk id="4" creationId="{94700C9B-B268-421A-8EA5-F55B10CCE28A}"/>
          </ac:cxnSpMkLst>
        </pc:cxnChg>
        <pc:cxnChg chg="add del mod">
          <ac:chgData name="McLeod, Caroline" userId="S::cmcleod@greatdentalplans.com::43031ce9-49a3-4f5f-9207-5c83a33945f8" providerId="AD" clId="Web-{0D447877-C10D-B575-E9C8-2F9315078FE7}" dt="2021-01-28T16:58:38.518" v="958"/>
          <ac:cxnSpMkLst>
            <pc:docMk/>
            <pc:sldMk cId="3578281583" sldId="273"/>
            <ac:cxnSpMk id="5" creationId="{9F4187C4-1805-436B-9896-6E16904095CC}"/>
          </ac:cxnSpMkLst>
        </pc:cxnChg>
        <pc:cxnChg chg="mod">
          <ac:chgData name="McLeod, Caroline" userId="S::cmcleod@greatdentalplans.com::43031ce9-49a3-4f5f-9207-5c83a33945f8" providerId="AD" clId="Web-{0D447877-C10D-B575-E9C8-2F9315078FE7}" dt="2021-01-28T16:59:09.299" v="973" actId="1076"/>
          <ac:cxnSpMkLst>
            <pc:docMk/>
            <pc:sldMk cId="3578281583" sldId="273"/>
            <ac:cxnSpMk id="28" creationId="{56180A23-A740-4683-94DC-052BE1A5A3E8}"/>
          </ac:cxnSpMkLst>
        </pc:cxnChg>
        <pc:cxnChg chg="mod">
          <ac:chgData name="McLeod, Caroline" userId="S::cmcleod@greatdentalplans.com::43031ce9-49a3-4f5f-9207-5c83a33945f8" providerId="AD" clId="Web-{0D447877-C10D-B575-E9C8-2F9315078FE7}" dt="2021-01-28T16:59:09.314" v="974" actId="1076"/>
          <ac:cxnSpMkLst>
            <pc:docMk/>
            <pc:sldMk cId="3578281583" sldId="273"/>
            <ac:cxnSpMk id="30" creationId="{85367D22-2377-4D04-86C2-E9733D8D5859}"/>
          </ac:cxnSpMkLst>
        </pc:cxnChg>
        <pc:cxnChg chg="mod">
          <ac:chgData name="McLeod, Caroline" userId="S::cmcleod@greatdentalplans.com::43031ce9-49a3-4f5f-9207-5c83a33945f8" providerId="AD" clId="Web-{0D447877-C10D-B575-E9C8-2F9315078FE7}" dt="2021-01-28T16:59:09.331" v="975" actId="1076"/>
          <ac:cxnSpMkLst>
            <pc:docMk/>
            <pc:sldMk cId="3578281583" sldId="273"/>
            <ac:cxnSpMk id="31" creationId="{8C4C2D64-1B78-4783-B8B3-3F0F7116EC01}"/>
          </ac:cxnSpMkLst>
        </pc:cxnChg>
        <pc:cxnChg chg="del mod">
          <ac:chgData name="McLeod, Caroline" userId="S::cmcleod@greatdentalplans.com::43031ce9-49a3-4f5f-9207-5c83a33945f8" providerId="AD" clId="Web-{0D447877-C10D-B575-E9C8-2F9315078FE7}" dt="2021-01-28T16:46:16.462" v="25"/>
          <ac:cxnSpMkLst>
            <pc:docMk/>
            <pc:sldMk cId="3578281583" sldId="273"/>
            <ac:cxnSpMk id="32" creationId="{4F3015ED-B58D-48D1-A9E7-314772158B24}"/>
          </ac:cxnSpMkLst>
        </pc:cxnChg>
        <pc:cxnChg chg="del mod">
          <ac:chgData name="McLeod, Caroline" userId="S::cmcleod@greatdentalplans.com::43031ce9-49a3-4f5f-9207-5c83a33945f8" providerId="AD" clId="Web-{0D447877-C10D-B575-E9C8-2F9315078FE7}" dt="2021-01-28T16:46:15.415" v="24"/>
          <ac:cxnSpMkLst>
            <pc:docMk/>
            <pc:sldMk cId="3578281583" sldId="273"/>
            <ac:cxnSpMk id="33" creationId="{883D7913-A7A6-40C1-915B-8BFB5EA47A2E}"/>
          </ac:cxnSpMkLst>
        </pc:cxnChg>
        <pc:cxnChg chg="del mod">
          <ac:chgData name="McLeod, Caroline" userId="S::cmcleod@greatdentalplans.com::43031ce9-49a3-4f5f-9207-5c83a33945f8" providerId="AD" clId="Web-{0D447877-C10D-B575-E9C8-2F9315078FE7}" dt="2021-01-28T16:46:07.556" v="17"/>
          <ac:cxnSpMkLst>
            <pc:docMk/>
            <pc:sldMk cId="3578281583" sldId="273"/>
            <ac:cxnSpMk id="34" creationId="{30560336-6156-43DD-A1B0-D3B6C10C2450}"/>
          </ac:cxnSpMkLst>
        </pc:cxnChg>
        <pc:cxnChg chg="del mod">
          <ac:chgData name="McLeod, Caroline" userId="S::cmcleod@greatdentalplans.com::43031ce9-49a3-4f5f-9207-5c83a33945f8" providerId="AD" clId="Web-{0D447877-C10D-B575-E9C8-2F9315078FE7}" dt="2021-01-28T16:46:07.556" v="16"/>
          <ac:cxnSpMkLst>
            <pc:docMk/>
            <pc:sldMk cId="3578281583" sldId="273"/>
            <ac:cxnSpMk id="35" creationId="{94AD4888-34ED-4463-9C47-A65919F34813}"/>
          </ac:cxnSpMkLst>
        </pc:cxnChg>
        <pc:cxnChg chg="del mod">
          <ac:chgData name="McLeod, Caroline" userId="S::cmcleod@greatdentalplans.com::43031ce9-49a3-4f5f-9207-5c83a33945f8" providerId="AD" clId="Web-{0D447877-C10D-B575-E9C8-2F9315078FE7}" dt="2021-01-28T16:46:07.556" v="15"/>
          <ac:cxnSpMkLst>
            <pc:docMk/>
            <pc:sldMk cId="3578281583" sldId="273"/>
            <ac:cxnSpMk id="39" creationId="{1D6FF747-63B3-414B-8DF4-2B5400C2A3FC}"/>
          </ac:cxnSpMkLst>
        </pc:cxnChg>
        <pc:cxnChg chg="del mod">
          <ac:chgData name="McLeod, Caroline" userId="S::cmcleod@greatdentalplans.com::43031ce9-49a3-4f5f-9207-5c83a33945f8" providerId="AD" clId="Web-{0D447877-C10D-B575-E9C8-2F9315078FE7}" dt="2021-01-28T16:58:30.330" v="954"/>
          <ac:cxnSpMkLst>
            <pc:docMk/>
            <pc:sldMk cId="3578281583" sldId="273"/>
            <ac:cxnSpMk id="40" creationId="{A339A679-1AC3-4F79-881B-DC648B114A2C}"/>
          </ac:cxnSpMkLst>
        </pc:cxnChg>
      </pc:sldChg>
      <pc:sldChg chg="addSp delSp modSp del delCm">
        <pc:chgData name="McLeod, Caroline" userId="S::cmcleod@greatdentalplans.com::43031ce9-49a3-4f5f-9207-5c83a33945f8" providerId="AD" clId="Web-{0D447877-C10D-B575-E9C8-2F9315078FE7}" dt="2021-01-28T17:02:35.891" v="1028"/>
        <pc:sldMkLst>
          <pc:docMk/>
          <pc:sldMk cId="3821480671" sldId="274"/>
        </pc:sldMkLst>
        <pc:spChg chg="del">
          <ac:chgData name="McLeod, Caroline" userId="S::cmcleod@greatdentalplans.com::43031ce9-49a3-4f5f-9207-5c83a33945f8" providerId="AD" clId="Web-{0D447877-C10D-B575-E9C8-2F9315078FE7}" dt="2021-01-28T16:44:05.354" v="0"/>
          <ac:spMkLst>
            <pc:docMk/>
            <pc:sldMk cId="3821480671" sldId="274"/>
            <ac:spMk id="3" creationId="{F458D0A8-A589-4C1F-8FC9-26D88C25A9E6}"/>
          </ac:spMkLst>
        </pc:spChg>
        <pc:picChg chg="add mod ord">
          <ac:chgData name="McLeod, Caroline" userId="S::cmcleod@greatdentalplans.com::43031ce9-49a3-4f5f-9207-5c83a33945f8" providerId="AD" clId="Web-{0D447877-C10D-B575-E9C8-2F9315078FE7}" dt="2021-01-28T16:44:19.775" v="4" actId="1076"/>
          <ac:picMkLst>
            <pc:docMk/>
            <pc:sldMk cId="3821480671" sldId="274"/>
            <ac:picMk id="4" creationId="{FF2382B7-C875-4F81-9377-9EB24EAFCE9E}"/>
          </ac:picMkLst>
        </pc:picChg>
      </pc:sldChg>
      <pc:sldChg chg="addSp modSp">
        <pc:chgData name="McLeod, Caroline" userId="S::cmcleod@greatdentalplans.com::43031ce9-49a3-4f5f-9207-5c83a33945f8" providerId="AD" clId="Web-{0D447877-C10D-B575-E9C8-2F9315078FE7}" dt="2021-01-28T17:02:40.281" v="1029" actId="1076"/>
        <pc:sldMkLst>
          <pc:docMk/>
          <pc:sldMk cId="3725104515" sldId="275"/>
        </pc:sldMkLst>
        <pc:picChg chg="add mod">
          <ac:chgData name="McLeod, Caroline" userId="S::cmcleod@greatdentalplans.com::43031ce9-49a3-4f5f-9207-5c83a33945f8" providerId="AD" clId="Web-{0D447877-C10D-B575-E9C8-2F9315078FE7}" dt="2021-01-28T17:02:40.281" v="1029" actId="1076"/>
          <ac:picMkLst>
            <pc:docMk/>
            <pc:sldMk cId="3725104515" sldId="275"/>
            <ac:picMk id="3" creationId="{4343E8F8-2E5E-4463-8806-E334F028EAC4}"/>
          </ac:picMkLst>
        </pc:picChg>
      </pc:sldChg>
    </pc:docChg>
  </pc:docChgLst>
  <pc:docChgLst>
    <pc:chgData name="Brown, Carolyn" userId="S::cbrown3@greatdentalplans.com::8b30e861-04f5-44e3-8736-f71de39fe055" providerId="AD" clId="Web-{8A1E2970-D170-8F38-CB67-0CBA6AC758C5}"/>
    <pc:docChg chg="modSld">
      <pc:chgData name="Brown, Carolyn" userId="S::cbrown3@greatdentalplans.com::8b30e861-04f5-44e3-8736-f71de39fe055" providerId="AD" clId="Web-{8A1E2970-D170-8F38-CB67-0CBA6AC758C5}" dt="2021-02-08T17:33:16.648" v="8" actId="20577"/>
      <pc:docMkLst>
        <pc:docMk/>
      </pc:docMkLst>
      <pc:sldChg chg="modSp">
        <pc:chgData name="Brown, Carolyn" userId="S::cbrown3@greatdentalplans.com::8b30e861-04f5-44e3-8736-f71de39fe055" providerId="AD" clId="Web-{8A1E2970-D170-8F38-CB67-0CBA6AC758C5}" dt="2021-02-08T17:33:16.648" v="8" actId="20577"/>
        <pc:sldMkLst>
          <pc:docMk/>
          <pc:sldMk cId="1279239907" sldId="276"/>
        </pc:sldMkLst>
        <pc:spChg chg="mod">
          <ac:chgData name="Brown, Carolyn" userId="S::cbrown3@greatdentalplans.com::8b30e861-04f5-44e3-8736-f71de39fe055" providerId="AD" clId="Web-{8A1E2970-D170-8F38-CB67-0CBA6AC758C5}" dt="2021-02-08T17:33:16.648" v="8" actId="20577"/>
          <ac:spMkLst>
            <pc:docMk/>
            <pc:sldMk cId="1279239907" sldId="276"/>
            <ac:spMk id="11" creationId="{478101FA-335F-4F70-9169-05E641D80F57}"/>
          </ac:spMkLst>
        </pc:spChg>
      </pc:sldChg>
    </pc:docChg>
  </pc:docChgLst>
  <pc:docChgLst>
    <pc:chgData name="McLeod, Caroline" userId="S::cmcleod@greatdentalplans.com::43031ce9-49a3-4f5f-9207-5c83a33945f8" providerId="AD" clId="Web-{ED3C3A31-198B-F0B6-15C8-E995A9CAA7BD}"/>
    <pc:docChg chg="addSld delSld">
      <pc:chgData name="McLeod, Caroline" userId="S::cmcleod@greatdentalplans.com::43031ce9-49a3-4f5f-9207-5c83a33945f8" providerId="AD" clId="Web-{ED3C3A31-198B-F0B6-15C8-E995A9CAA7BD}" dt="2021-02-05T18:28:36.152" v="17"/>
      <pc:docMkLst>
        <pc:docMk/>
      </pc:docMkLst>
      <pc:sldChg chg="add del replId">
        <pc:chgData name="McLeod, Caroline" userId="S::cmcleod@greatdentalplans.com::43031ce9-49a3-4f5f-9207-5c83a33945f8" providerId="AD" clId="Web-{ED3C3A31-198B-F0B6-15C8-E995A9CAA7BD}" dt="2021-02-05T18:28:36.152" v="17"/>
        <pc:sldMkLst>
          <pc:docMk/>
          <pc:sldMk cId="1074212921" sldId="2850"/>
        </pc:sldMkLst>
      </pc:sldChg>
      <pc:sldChg chg="add del replId">
        <pc:chgData name="McLeod, Caroline" userId="S::cmcleod@greatdentalplans.com::43031ce9-49a3-4f5f-9207-5c83a33945f8" providerId="AD" clId="Web-{ED3C3A31-198B-F0B6-15C8-E995A9CAA7BD}" dt="2021-02-05T18:28:36.137" v="16"/>
        <pc:sldMkLst>
          <pc:docMk/>
          <pc:sldMk cId="1719670157" sldId="2851"/>
        </pc:sldMkLst>
      </pc:sldChg>
      <pc:sldChg chg="add del replId">
        <pc:chgData name="McLeod, Caroline" userId="S::cmcleod@greatdentalplans.com::43031ce9-49a3-4f5f-9207-5c83a33945f8" providerId="AD" clId="Web-{ED3C3A31-198B-F0B6-15C8-E995A9CAA7BD}" dt="2021-02-05T18:28:36.137" v="15"/>
        <pc:sldMkLst>
          <pc:docMk/>
          <pc:sldMk cId="4069897277" sldId="2852"/>
        </pc:sldMkLst>
      </pc:sldChg>
      <pc:sldChg chg="add del replId">
        <pc:chgData name="McLeod, Caroline" userId="S::cmcleod@greatdentalplans.com::43031ce9-49a3-4f5f-9207-5c83a33945f8" providerId="AD" clId="Web-{ED3C3A31-198B-F0B6-15C8-E995A9CAA7BD}" dt="2021-02-05T18:28:36.137" v="14"/>
        <pc:sldMkLst>
          <pc:docMk/>
          <pc:sldMk cId="2122928267" sldId="2853"/>
        </pc:sldMkLst>
      </pc:sldChg>
      <pc:sldChg chg="add del replId">
        <pc:chgData name="McLeod, Caroline" userId="S::cmcleod@greatdentalplans.com::43031ce9-49a3-4f5f-9207-5c83a33945f8" providerId="AD" clId="Web-{ED3C3A31-198B-F0B6-15C8-E995A9CAA7BD}" dt="2021-02-05T18:28:36.137" v="13"/>
        <pc:sldMkLst>
          <pc:docMk/>
          <pc:sldMk cId="520149840" sldId="2854"/>
        </pc:sldMkLst>
      </pc:sldChg>
      <pc:sldChg chg="add del replId">
        <pc:chgData name="McLeod, Caroline" userId="S::cmcleod@greatdentalplans.com::43031ce9-49a3-4f5f-9207-5c83a33945f8" providerId="AD" clId="Web-{ED3C3A31-198B-F0B6-15C8-E995A9CAA7BD}" dt="2021-02-05T18:28:36.121" v="12"/>
        <pc:sldMkLst>
          <pc:docMk/>
          <pc:sldMk cId="2357346031" sldId="2855"/>
        </pc:sldMkLst>
      </pc:sldChg>
      <pc:sldChg chg="add del replId">
        <pc:chgData name="McLeod, Caroline" userId="S::cmcleod@greatdentalplans.com::43031ce9-49a3-4f5f-9207-5c83a33945f8" providerId="AD" clId="Web-{ED3C3A31-198B-F0B6-15C8-E995A9CAA7BD}" dt="2021-02-05T18:28:36.121" v="11"/>
        <pc:sldMkLst>
          <pc:docMk/>
          <pc:sldMk cId="1203018901" sldId="2856"/>
        </pc:sldMkLst>
      </pc:sldChg>
      <pc:sldChg chg="add del replId">
        <pc:chgData name="McLeod, Caroline" userId="S::cmcleod@greatdentalplans.com::43031ce9-49a3-4f5f-9207-5c83a33945f8" providerId="AD" clId="Web-{ED3C3A31-198B-F0B6-15C8-E995A9CAA7BD}" dt="2021-02-05T18:28:36.121" v="10"/>
        <pc:sldMkLst>
          <pc:docMk/>
          <pc:sldMk cId="3969005283" sldId="2857"/>
        </pc:sldMkLst>
      </pc:sldChg>
      <pc:sldChg chg="add del replId">
        <pc:chgData name="McLeod, Caroline" userId="S::cmcleod@greatdentalplans.com::43031ce9-49a3-4f5f-9207-5c83a33945f8" providerId="AD" clId="Web-{ED3C3A31-198B-F0B6-15C8-E995A9CAA7BD}" dt="2021-02-05T18:28:36.121" v="9"/>
        <pc:sldMkLst>
          <pc:docMk/>
          <pc:sldMk cId="3101011838" sldId="2858"/>
        </pc:sldMkLst>
      </pc:sldChg>
    </pc:docChg>
  </pc:docChgLst>
  <pc:docChgLst>
    <pc:chgData name="McLeod, Caroline" userId="S::cmcleod@greatdentalplans.com::43031ce9-49a3-4f5f-9207-5c83a33945f8" providerId="AD" clId="Web-{0926CF92-29BF-BFD8-4274-B86402699332}"/>
    <pc:docChg chg="addSld modSld">
      <pc:chgData name="McLeod, Caroline" userId="S::cmcleod@greatdentalplans.com::43031ce9-49a3-4f5f-9207-5c83a33945f8" providerId="AD" clId="Web-{0926CF92-29BF-BFD8-4274-B86402699332}" dt="2021-02-02T18:17:26.672" v="42"/>
      <pc:docMkLst>
        <pc:docMk/>
      </pc:docMkLst>
      <pc:sldChg chg="modSp">
        <pc:chgData name="McLeod, Caroline" userId="S::cmcleod@greatdentalplans.com::43031ce9-49a3-4f5f-9207-5c83a33945f8" providerId="AD" clId="Web-{0926CF92-29BF-BFD8-4274-B86402699332}" dt="2021-02-02T18:14:49.106" v="26" actId="20577"/>
        <pc:sldMkLst>
          <pc:docMk/>
          <pc:sldMk cId="696052771" sldId="272"/>
        </pc:sldMkLst>
        <pc:spChg chg="mod">
          <ac:chgData name="McLeod, Caroline" userId="S::cmcleod@greatdentalplans.com::43031ce9-49a3-4f5f-9207-5c83a33945f8" providerId="AD" clId="Web-{0926CF92-29BF-BFD8-4274-B86402699332}" dt="2021-02-02T18:14:49.106" v="26" actId="20577"/>
          <ac:spMkLst>
            <pc:docMk/>
            <pc:sldMk cId="696052771" sldId="272"/>
            <ac:spMk id="2" creationId="{E034392D-753F-440A-8DE4-6C170094B792}"/>
          </ac:spMkLst>
        </pc:spChg>
      </pc:sldChg>
      <pc:sldChg chg="addCm">
        <pc:chgData name="McLeod, Caroline" userId="S::cmcleod@greatdentalplans.com::43031ce9-49a3-4f5f-9207-5c83a33945f8" providerId="AD" clId="Web-{0926CF92-29BF-BFD8-4274-B86402699332}" dt="2021-02-02T18:15:57.107" v="27"/>
        <pc:sldMkLst>
          <pc:docMk/>
          <pc:sldMk cId="3578281583" sldId="273"/>
        </pc:sldMkLst>
      </pc:sldChg>
      <pc:sldChg chg="addSp delSp modSp delCm">
        <pc:chgData name="McLeod, Caroline" userId="S::cmcleod@greatdentalplans.com::43031ce9-49a3-4f5f-9207-5c83a33945f8" providerId="AD" clId="Web-{0926CF92-29BF-BFD8-4274-B86402699332}" dt="2021-02-02T18:16:35.514" v="32"/>
        <pc:sldMkLst>
          <pc:docMk/>
          <pc:sldMk cId="3725104515" sldId="275"/>
        </pc:sldMkLst>
        <pc:spChg chg="add del mod">
          <ac:chgData name="McLeod, Caroline" userId="S::cmcleod@greatdentalplans.com::43031ce9-49a3-4f5f-9207-5c83a33945f8" providerId="AD" clId="Web-{0926CF92-29BF-BFD8-4274-B86402699332}" dt="2021-02-02T18:16:35.514" v="32"/>
          <ac:spMkLst>
            <pc:docMk/>
            <pc:sldMk cId="3725104515" sldId="275"/>
            <ac:spMk id="29" creationId="{711E7790-EA76-4E70-A333-E8CE122276B4}"/>
          </ac:spMkLst>
        </pc:spChg>
        <pc:picChg chg="del mod">
          <ac:chgData name="McLeod, Caroline" userId="S::cmcleod@greatdentalplans.com::43031ce9-49a3-4f5f-9207-5c83a33945f8" providerId="AD" clId="Web-{0926CF92-29BF-BFD8-4274-B86402699332}" dt="2021-02-02T18:16:31.655" v="31"/>
          <ac:picMkLst>
            <pc:docMk/>
            <pc:sldMk cId="3725104515" sldId="275"/>
            <ac:picMk id="3" creationId="{4343E8F8-2E5E-4463-8806-E334F028EAC4}"/>
          </ac:picMkLst>
        </pc:picChg>
      </pc:sldChg>
      <pc:sldChg chg="delSp modSp add replId delAnim">
        <pc:chgData name="McLeod, Caroline" userId="S::cmcleod@greatdentalplans.com::43031ce9-49a3-4f5f-9207-5c83a33945f8" providerId="AD" clId="Web-{0926CF92-29BF-BFD8-4274-B86402699332}" dt="2021-02-02T18:17:26.672" v="42"/>
        <pc:sldMkLst>
          <pc:docMk/>
          <pc:sldMk cId="1549554839" sldId="289"/>
        </pc:sldMkLst>
        <pc:spChg chg="del">
          <ac:chgData name="McLeod, Caroline" userId="S::cmcleod@greatdentalplans.com::43031ce9-49a3-4f5f-9207-5c83a33945f8" providerId="AD" clId="Web-{0926CF92-29BF-BFD8-4274-B86402699332}" dt="2021-02-02T18:17:21.422" v="40"/>
          <ac:spMkLst>
            <pc:docMk/>
            <pc:sldMk cId="1549554839" sldId="289"/>
            <ac:spMk id="9" creationId="{A450AFBB-BC8B-4B99-926B-23D778487FA4}"/>
          </ac:spMkLst>
        </pc:spChg>
        <pc:spChg chg="del">
          <ac:chgData name="McLeod, Caroline" userId="S::cmcleod@greatdentalplans.com::43031ce9-49a3-4f5f-9207-5c83a33945f8" providerId="AD" clId="Web-{0926CF92-29BF-BFD8-4274-B86402699332}" dt="2021-02-02T18:17:21.422" v="39"/>
          <ac:spMkLst>
            <pc:docMk/>
            <pc:sldMk cId="1549554839" sldId="289"/>
            <ac:spMk id="10" creationId="{B12981A8-AE90-4116-AB07-D5BEB5F8B50E}"/>
          </ac:spMkLst>
        </pc:spChg>
        <pc:spChg chg="del">
          <ac:chgData name="McLeod, Caroline" userId="S::cmcleod@greatdentalplans.com::43031ce9-49a3-4f5f-9207-5c83a33945f8" providerId="AD" clId="Web-{0926CF92-29BF-BFD8-4274-B86402699332}" dt="2021-02-02T18:17:21.422" v="38"/>
          <ac:spMkLst>
            <pc:docMk/>
            <pc:sldMk cId="1549554839" sldId="289"/>
            <ac:spMk id="24" creationId="{DD6CC340-1E77-45B3-A842-18F73163ADA9}"/>
          </ac:spMkLst>
        </pc:spChg>
        <pc:spChg chg="del">
          <ac:chgData name="McLeod, Caroline" userId="S::cmcleod@greatdentalplans.com::43031ce9-49a3-4f5f-9207-5c83a33945f8" providerId="AD" clId="Web-{0926CF92-29BF-BFD8-4274-B86402699332}" dt="2021-02-02T18:17:24.297" v="41"/>
          <ac:spMkLst>
            <pc:docMk/>
            <pc:sldMk cId="1549554839" sldId="289"/>
            <ac:spMk id="25" creationId="{8CC2E127-6443-45BB-80BC-0D25D50F7519}"/>
          </ac:spMkLst>
        </pc:spChg>
        <pc:spChg chg="del">
          <ac:chgData name="McLeod, Caroline" userId="S::cmcleod@greatdentalplans.com::43031ce9-49a3-4f5f-9207-5c83a33945f8" providerId="AD" clId="Web-{0926CF92-29BF-BFD8-4274-B86402699332}" dt="2021-02-02T18:17:21.422" v="37"/>
          <ac:spMkLst>
            <pc:docMk/>
            <pc:sldMk cId="1549554839" sldId="289"/>
            <ac:spMk id="26" creationId="{29833A2B-1520-45EB-B0B7-9D2B8E5ADB47}"/>
          </ac:spMkLst>
        </pc:spChg>
        <pc:spChg chg="del">
          <ac:chgData name="McLeod, Caroline" userId="S::cmcleod@greatdentalplans.com::43031ce9-49a3-4f5f-9207-5c83a33945f8" providerId="AD" clId="Web-{0926CF92-29BF-BFD8-4274-B86402699332}" dt="2021-02-02T18:17:21.375" v="36"/>
          <ac:spMkLst>
            <pc:docMk/>
            <pc:sldMk cId="1549554839" sldId="289"/>
            <ac:spMk id="27" creationId="{5F1328BC-8D9C-45BE-B2BD-A97924A63A6D}"/>
          </ac:spMkLst>
        </pc:spChg>
        <pc:cxnChg chg="mod">
          <ac:chgData name="McLeod, Caroline" userId="S::cmcleod@greatdentalplans.com::43031ce9-49a3-4f5f-9207-5c83a33945f8" providerId="AD" clId="Web-{0926CF92-29BF-BFD8-4274-B86402699332}" dt="2021-02-02T18:17:21.422" v="37"/>
          <ac:cxnSpMkLst>
            <pc:docMk/>
            <pc:sldMk cId="1549554839" sldId="289"/>
            <ac:cxnSpMk id="32" creationId="{4F3015ED-B58D-48D1-A9E7-314772158B24}"/>
          </ac:cxnSpMkLst>
        </pc:cxnChg>
        <pc:cxnChg chg="mod">
          <ac:chgData name="McLeod, Caroline" userId="S::cmcleod@greatdentalplans.com::43031ce9-49a3-4f5f-9207-5c83a33945f8" providerId="AD" clId="Web-{0926CF92-29BF-BFD8-4274-B86402699332}" dt="2021-02-02T18:17:21.422" v="37"/>
          <ac:cxnSpMkLst>
            <pc:docMk/>
            <pc:sldMk cId="1549554839" sldId="289"/>
            <ac:cxnSpMk id="33" creationId="{883D7913-A7A6-40C1-915B-8BFB5EA47A2E}"/>
          </ac:cxnSpMkLst>
        </pc:cxnChg>
        <pc:cxnChg chg="del mod">
          <ac:chgData name="McLeod, Caroline" userId="S::cmcleod@greatdentalplans.com::43031ce9-49a3-4f5f-9207-5c83a33945f8" providerId="AD" clId="Web-{0926CF92-29BF-BFD8-4274-B86402699332}" dt="2021-02-02T18:17:21.359" v="35"/>
          <ac:cxnSpMkLst>
            <pc:docMk/>
            <pc:sldMk cId="1549554839" sldId="289"/>
            <ac:cxnSpMk id="34" creationId="{30560336-6156-43DD-A1B0-D3B6C10C2450}"/>
          </ac:cxnSpMkLst>
        </pc:cxnChg>
        <pc:cxnChg chg="del mod">
          <ac:chgData name="McLeod, Caroline" userId="S::cmcleod@greatdentalplans.com::43031ce9-49a3-4f5f-9207-5c83a33945f8" providerId="AD" clId="Web-{0926CF92-29BF-BFD8-4274-B86402699332}" dt="2021-02-02T18:17:26.672" v="42"/>
          <ac:cxnSpMkLst>
            <pc:docMk/>
            <pc:sldMk cId="1549554839" sldId="289"/>
            <ac:cxnSpMk id="35" creationId="{94AD4888-34ED-4463-9C47-A65919F34813}"/>
          </ac:cxnSpMkLst>
        </pc:cxnChg>
        <pc:cxnChg chg="del mod">
          <ac:chgData name="McLeod, Caroline" userId="S::cmcleod@greatdentalplans.com::43031ce9-49a3-4f5f-9207-5c83a33945f8" providerId="AD" clId="Web-{0926CF92-29BF-BFD8-4274-B86402699332}" dt="2021-02-02T18:17:21.359" v="34"/>
          <ac:cxnSpMkLst>
            <pc:docMk/>
            <pc:sldMk cId="1549554839" sldId="289"/>
            <ac:cxnSpMk id="39" creationId="{1D6FF747-63B3-414B-8DF4-2B5400C2A3FC}"/>
          </ac:cxnSpMkLst>
        </pc:cxnChg>
        <pc:cxnChg chg="mod">
          <ac:chgData name="McLeod, Caroline" userId="S::cmcleod@greatdentalplans.com::43031ce9-49a3-4f5f-9207-5c83a33945f8" providerId="AD" clId="Web-{0926CF92-29BF-BFD8-4274-B86402699332}" dt="2021-02-02T18:17:21.422" v="37"/>
          <ac:cxnSpMkLst>
            <pc:docMk/>
            <pc:sldMk cId="1549554839" sldId="289"/>
            <ac:cxnSpMk id="40" creationId="{A339A679-1AC3-4F79-881B-DC648B114A2C}"/>
          </ac:cxnSpMkLst>
        </pc:cxnChg>
      </pc:sldChg>
    </pc:docChg>
  </pc:docChgLst>
  <pc:docChgLst>
    <pc:chgData name="Brown, Carolyn" userId="S::cbrown3@greatdentalplans.com::8b30e861-04f5-44e3-8736-f71de39fe055" providerId="AD" clId="Web-{2D5DFEFB-5BF2-411C-F772-60841AC24392}"/>
    <pc:docChg chg="modSld">
      <pc:chgData name="Brown, Carolyn" userId="S::cbrown3@greatdentalplans.com::8b30e861-04f5-44e3-8736-f71de39fe055" providerId="AD" clId="Web-{2D5DFEFB-5BF2-411C-F772-60841AC24392}" dt="2021-02-08T17:20:43.777" v="750" actId="20577"/>
      <pc:docMkLst>
        <pc:docMk/>
      </pc:docMkLst>
      <pc:sldChg chg="modSp">
        <pc:chgData name="Brown, Carolyn" userId="S::cbrown3@greatdentalplans.com::8b30e861-04f5-44e3-8736-f71de39fe055" providerId="AD" clId="Web-{2D5DFEFB-5BF2-411C-F772-60841AC24392}" dt="2021-02-08T17:19:44.166" v="721" actId="20577"/>
        <pc:sldMkLst>
          <pc:docMk/>
          <pc:sldMk cId="1279239907" sldId="276"/>
        </pc:sldMkLst>
        <pc:spChg chg="mod">
          <ac:chgData name="Brown, Carolyn" userId="S::cbrown3@greatdentalplans.com::8b30e861-04f5-44e3-8736-f71de39fe055" providerId="AD" clId="Web-{2D5DFEFB-5BF2-411C-F772-60841AC24392}" dt="2021-02-08T17:19:44.166" v="721" actId="20577"/>
          <ac:spMkLst>
            <pc:docMk/>
            <pc:sldMk cId="1279239907" sldId="276"/>
            <ac:spMk id="11" creationId="{478101FA-335F-4F70-9169-05E641D80F57}"/>
          </ac:spMkLst>
        </pc:spChg>
      </pc:sldChg>
      <pc:sldChg chg="modSp">
        <pc:chgData name="Brown, Carolyn" userId="S::cbrown3@greatdentalplans.com::8b30e861-04f5-44e3-8736-f71de39fe055" providerId="AD" clId="Web-{2D5DFEFB-5BF2-411C-F772-60841AC24392}" dt="2021-02-08T17:20:43.777" v="750" actId="20577"/>
        <pc:sldMkLst>
          <pc:docMk/>
          <pc:sldMk cId="2119287878" sldId="279"/>
        </pc:sldMkLst>
        <pc:spChg chg="mod">
          <ac:chgData name="Brown, Carolyn" userId="S::cbrown3@greatdentalplans.com::8b30e861-04f5-44e3-8736-f71de39fe055" providerId="AD" clId="Web-{2D5DFEFB-5BF2-411C-F772-60841AC24392}" dt="2021-02-08T17:19:57.338" v="722" actId="20577"/>
          <ac:spMkLst>
            <pc:docMk/>
            <pc:sldMk cId="2119287878" sldId="279"/>
            <ac:spMk id="2" creationId="{C0ED1B09-A36B-4486-B16E-3AA52CB3E3A8}"/>
          </ac:spMkLst>
        </pc:spChg>
        <pc:spChg chg="mod">
          <ac:chgData name="Brown, Carolyn" userId="S::cbrown3@greatdentalplans.com::8b30e861-04f5-44e3-8736-f71de39fe055" providerId="AD" clId="Web-{2D5DFEFB-5BF2-411C-F772-60841AC24392}" dt="2021-02-08T17:20:43.777" v="750" actId="20577"/>
          <ac:spMkLst>
            <pc:docMk/>
            <pc:sldMk cId="2119287878" sldId="279"/>
            <ac:spMk id="4" creationId="{DDA7DCFA-6C1E-4C07-8A74-EA082162D80D}"/>
          </ac:spMkLst>
        </pc:spChg>
      </pc:sldChg>
      <pc:sldChg chg="modNotes">
        <pc:chgData name="Brown, Carolyn" userId="S::cbrown3@greatdentalplans.com::8b30e861-04f5-44e3-8736-f71de39fe055" providerId="AD" clId="Web-{2D5DFEFB-5BF2-411C-F772-60841AC24392}" dt="2021-02-08T17:12:20.965" v="73"/>
        <pc:sldMkLst>
          <pc:docMk/>
          <pc:sldMk cId="3066448132" sldId="283"/>
        </pc:sldMkLst>
      </pc:sldChg>
    </pc:docChg>
  </pc:docChgLst>
  <pc:docChgLst>
    <pc:chgData name="McLeod, Caroline" userId="S::cmcleod@greatdentalplans.com::43031ce9-49a3-4f5f-9207-5c83a33945f8" providerId="AD" clId="Web-{CDAC2D0C-A5BE-C742-2358-CFF0A38936F3}"/>
    <pc:docChg chg="addSld delSld modSld sldOrd">
      <pc:chgData name="McLeod, Caroline" userId="S::cmcleod@greatdentalplans.com::43031ce9-49a3-4f5f-9207-5c83a33945f8" providerId="AD" clId="Web-{CDAC2D0C-A5BE-C742-2358-CFF0A38936F3}" dt="2021-01-21T14:12:20.656" v="16" actId="1076"/>
      <pc:docMkLst>
        <pc:docMk/>
      </pc:docMkLst>
      <pc:sldChg chg="del">
        <pc:chgData name="McLeod, Caroline" userId="S::cmcleod@greatdentalplans.com::43031ce9-49a3-4f5f-9207-5c83a33945f8" providerId="AD" clId="Web-{CDAC2D0C-A5BE-C742-2358-CFF0A38936F3}" dt="2021-01-21T14:11:36.655" v="6"/>
        <pc:sldMkLst>
          <pc:docMk/>
          <pc:sldMk cId="329198466" sldId="282"/>
        </pc:sldMkLst>
      </pc:sldChg>
      <pc:sldChg chg="add ord">
        <pc:chgData name="McLeod, Caroline" userId="S::cmcleod@greatdentalplans.com::43031ce9-49a3-4f5f-9207-5c83a33945f8" providerId="AD" clId="Web-{CDAC2D0C-A5BE-C742-2358-CFF0A38936F3}" dt="2021-01-21T14:10:50.029" v="2"/>
        <pc:sldMkLst>
          <pc:docMk/>
          <pc:sldMk cId="1833185731" sldId="284"/>
        </pc:sldMkLst>
      </pc:sldChg>
      <pc:sldChg chg="add ord">
        <pc:chgData name="McLeod, Caroline" userId="S::cmcleod@greatdentalplans.com::43031ce9-49a3-4f5f-9207-5c83a33945f8" providerId="AD" clId="Web-{CDAC2D0C-A5BE-C742-2358-CFF0A38936F3}" dt="2021-01-21T14:10:50.029" v="3"/>
        <pc:sldMkLst>
          <pc:docMk/>
          <pc:sldMk cId="3183828744" sldId="285"/>
        </pc:sldMkLst>
      </pc:sldChg>
      <pc:sldChg chg="add">
        <pc:chgData name="McLeod, Caroline" userId="S::cmcleod@greatdentalplans.com::43031ce9-49a3-4f5f-9207-5c83a33945f8" providerId="AD" clId="Web-{CDAC2D0C-A5BE-C742-2358-CFF0A38936F3}" dt="2021-01-21T14:11:07.326" v="4"/>
        <pc:sldMkLst>
          <pc:docMk/>
          <pc:sldMk cId="3547692669" sldId="286"/>
        </pc:sldMkLst>
      </pc:sldChg>
      <pc:sldChg chg="add">
        <pc:chgData name="McLeod, Caroline" userId="S::cmcleod@greatdentalplans.com::43031ce9-49a3-4f5f-9207-5c83a33945f8" providerId="AD" clId="Web-{CDAC2D0C-A5BE-C742-2358-CFF0A38936F3}" dt="2021-01-21T14:11:29.921" v="5"/>
        <pc:sldMkLst>
          <pc:docMk/>
          <pc:sldMk cId="675873844" sldId="287"/>
        </pc:sldMkLst>
      </pc:sldChg>
      <pc:sldChg chg="delSp modSp new mod modClrScheme chgLayout">
        <pc:chgData name="McLeod, Caroline" userId="S::cmcleod@greatdentalplans.com::43031ce9-49a3-4f5f-9207-5c83a33945f8" providerId="AD" clId="Web-{CDAC2D0C-A5BE-C742-2358-CFF0A38936F3}" dt="2021-01-21T14:12:20.656" v="16" actId="1076"/>
        <pc:sldMkLst>
          <pc:docMk/>
          <pc:sldMk cId="2575292049" sldId="288"/>
        </pc:sldMkLst>
        <pc:spChg chg="mod ord">
          <ac:chgData name="McLeod, Caroline" userId="S::cmcleod@greatdentalplans.com::43031ce9-49a3-4f5f-9207-5c83a33945f8" providerId="AD" clId="Web-{CDAC2D0C-A5BE-C742-2358-CFF0A38936F3}" dt="2021-01-21T14:12:20.656" v="16" actId="1076"/>
          <ac:spMkLst>
            <pc:docMk/>
            <pc:sldMk cId="2575292049" sldId="288"/>
            <ac:spMk id="2" creationId="{CD80B302-33D5-47BD-A88A-90C914F78898}"/>
          </ac:spMkLst>
        </pc:spChg>
        <pc:spChg chg="del">
          <ac:chgData name="McLeod, Caroline" userId="S::cmcleod@greatdentalplans.com::43031ce9-49a3-4f5f-9207-5c83a33945f8" providerId="AD" clId="Web-{CDAC2D0C-A5BE-C742-2358-CFF0A38936F3}" dt="2021-01-21T14:12:12.015" v="8"/>
          <ac:spMkLst>
            <pc:docMk/>
            <pc:sldMk cId="2575292049" sldId="288"/>
            <ac:spMk id="3" creationId="{A159A7B2-757C-4F6D-A7B1-4E08E6212B66}"/>
          </ac:spMkLst>
        </pc:spChg>
        <pc:spChg chg="del mod ord">
          <ac:chgData name="McLeod, Caroline" userId="S::cmcleod@greatdentalplans.com::43031ce9-49a3-4f5f-9207-5c83a33945f8" providerId="AD" clId="Web-{CDAC2D0C-A5BE-C742-2358-CFF0A38936F3}" dt="2021-01-21T14:12:17.500" v="15"/>
          <ac:spMkLst>
            <pc:docMk/>
            <pc:sldMk cId="2575292049" sldId="288"/>
            <ac:spMk id="4" creationId="{2861CBFB-B156-4C4B-8D23-51EE4C0DA78E}"/>
          </ac:spMkLst>
        </pc:spChg>
      </pc:sldChg>
    </pc:docChg>
  </pc:docChgLst>
  <pc:docChgLst>
    <pc:chgData name="McLeod, Caroline" userId="S::cmcleod@greatdentalplans.com::43031ce9-49a3-4f5f-9207-5c83a33945f8" providerId="AD" clId="Web-{CCA30725-C955-4EC6-5437-7257B0590A30}"/>
    <pc:docChg chg="">
      <pc:chgData name="McLeod, Caroline" userId="S::cmcleod@greatdentalplans.com::43031ce9-49a3-4f5f-9207-5c83a33945f8" providerId="AD" clId="Web-{CCA30725-C955-4EC6-5437-7257B0590A30}" dt="2021-01-27T18:51:56.663" v="0"/>
      <pc:docMkLst>
        <pc:docMk/>
      </pc:docMkLst>
      <pc:sldChg chg="addCm">
        <pc:chgData name="McLeod, Caroline" userId="S::cmcleod@greatdentalplans.com::43031ce9-49a3-4f5f-9207-5c83a33945f8" providerId="AD" clId="Web-{CCA30725-C955-4EC6-5437-7257B0590A30}" dt="2021-01-27T18:51:56.663" v="0"/>
        <pc:sldMkLst>
          <pc:docMk/>
          <pc:sldMk cId="3821480671" sldId="274"/>
        </pc:sldMkLst>
      </pc:sldChg>
    </pc:docChg>
  </pc:docChgLst>
  <pc:docChgLst>
    <pc:chgData name="McLeod, Caroline" userId="S::cmcleod@greatdentalplans.com::43031ce9-49a3-4f5f-9207-5c83a33945f8" providerId="AD" clId="Web-{CDEBCBF4-586E-ED64-1A99-D976F5981014}"/>
    <pc:docChg chg="addSld delSld modSld sldOrd addMainMaster modMainMaster">
      <pc:chgData name="McLeod, Caroline" userId="S::cmcleod@greatdentalplans.com::43031ce9-49a3-4f5f-9207-5c83a33945f8" providerId="AD" clId="Web-{CDEBCBF4-586E-ED64-1A99-D976F5981014}" dt="2021-01-21T14:05:39.783" v="614"/>
      <pc:docMkLst>
        <pc:docMk/>
      </pc:docMkLst>
      <pc:sldChg chg="modSp ord">
        <pc:chgData name="McLeod, Caroline" userId="S::cmcleod@greatdentalplans.com::43031ce9-49a3-4f5f-9207-5c83a33945f8" providerId="AD" clId="Web-{CDEBCBF4-586E-ED64-1A99-D976F5981014}" dt="2021-01-21T13:39:20.680" v="173" actId="20577"/>
        <pc:sldMkLst>
          <pc:docMk/>
          <pc:sldMk cId="3326831338" sldId="261"/>
        </pc:sldMkLst>
        <pc:spChg chg="mod">
          <ac:chgData name="McLeod, Caroline" userId="S::cmcleod@greatdentalplans.com::43031ce9-49a3-4f5f-9207-5c83a33945f8" providerId="AD" clId="Web-{CDEBCBF4-586E-ED64-1A99-D976F5981014}" dt="2021-01-21T13:39:20.680" v="173" actId="20577"/>
          <ac:spMkLst>
            <pc:docMk/>
            <pc:sldMk cId="3326831338" sldId="261"/>
            <ac:spMk id="2" creationId="{FBF075A1-46F6-49D2-B4F2-2259C6296EA0}"/>
          </ac:spMkLst>
        </pc:spChg>
      </pc:sldChg>
      <pc:sldChg chg="modSp modNotes">
        <pc:chgData name="McLeod, Caroline" userId="S::cmcleod@greatdentalplans.com::43031ce9-49a3-4f5f-9207-5c83a33945f8" providerId="AD" clId="Web-{CDEBCBF4-586E-ED64-1A99-D976F5981014}" dt="2021-01-21T13:38:19.350" v="166"/>
        <pc:sldMkLst>
          <pc:docMk/>
          <pc:sldMk cId="3355587186" sldId="263"/>
        </pc:sldMkLst>
        <pc:spChg chg="mod">
          <ac:chgData name="McLeod, Caroline" userId="S::cmcleod@greatdentalplans.com::43031ce9-49a3-4f5f-9207-5c83a33945f8" providerId="AD" clId="Web-{CDEBCBF4-586E-ED64-1A99-D976F5981014}" dt="2021-01-21T13:28:28.069" v="52" actId="1076"/>
          <ac:spMkLst>
            <pc:docMk/>
            <pc:sldMk cId="3355587186" sldId="263"/>
            <ac:spMk id="3" creationId="{5ECC9D8D-0C60-4472-BE66-F72A84EF1321}"/>
          </ac:spMkLst>
        </pc:spChg>
      </pc:sldChg>
      <pc:sldChg chg="addSp delSp modSp new ord modNotes">
        <pc:chgData name="McLeod, Caroline" userId="S::cmcleod@greatdentalplans.com::43031ce9-49a3-4f5f-9207-5c83a33945f8" providerId="AD" clId="Web-{CDEBCBF4-586E-ED64-1A99-D976F5981014}" dt="2021-01-21T13:38:01.850" v="163"/>
        <pc:sldMkLst>
          <pc:docMk/>
          <pc:sldMk cId="2209671935" sldId="264"/>
        </pc:sldMkLst>
        <pc:spChg chg="mod">
          <ac:chgData name="McLeod, Caroline" userId="S::cmcleod@greatdentalplans.com::43031ce9-49a3-4f5f-9207-5c83a33945f8" providerId="AD" clId="Web-{CDEBCBF4-586E-ED64-1A99-D976F5981014}" dt="2021-01-21T13:27:35.880" v="3" actId="20577"/>
          <ac:spMkLst>
            <pc:docMk/>
            <pc:sldMk cId="2209671935" sldId="264"/>
            <ac:spMk id="2" creationId="{C6A0E406-0C9A-4B34-8241-EA1D16D997B2}"/>
          </ac:spMkLst>
        </pc:spChg>
        <pc:spChg chg="del">
          <ac:chgData name="McLeod, Caroline" userId="S::cmcleod@greatdentalplans.com::43031ce9-49a3-4f5f-9207-5c83a33945f8" providerId="AD" clId="Web-{CDEBCBF4-586E-ED64-1A99-D976F5981014}" dt="2021-01-21T13:27:45.896" v="5"/>
          <ac:spMkLst>
            <pc:docMk/>
            <pc:sldMk cId="2209671935" sldId="264"/>
            <ac:spMk id="3" creationId="{E229113C-00BD-4B09-89B3-D1DB2984DD78}"/>
          </ac:spMkLst>
        </pc:spChg>
        <pc:spChg chg="mod">
          <ac:chgData name="McLeod, Caroline" userId="S::cmcleod@greatdentalplans.com::43031ce9-49a3-4f5f-9207-5c83a33945f8" providerId="AD" clId="Web-{CDEBCBF4-586E-ED64-1A99-D976F5981014}" dt="2021-01-21T13:37:51.506" v="162" actId="1076"/>
          <ac:spMkLst>
            <pc:docMk/>
            <pc:sldMk cId="2209671935" sldId="264"/>
            <ac:spMk id="4" creationId="{66CB8B3C-F6F5-4D60-AB59-C9525A69F49D}"/>
          </ac:spMkLst>
        </pc:spChg>
        <pc:spChg chg="add del">
          <ac:chgData name="McLeod, Caroline" userId="S::cmcleod@greatdentalplans.com::43031ce9-49a3-4f5f-9207-5c83a33945f8" providerId="AD" clId="Web-{CDEBCBF4-586E-ED64-1A99-D976F5981014}" dt="2021-01-21T13:27:50.724" v="24"/>
          <ac:spMkLst>
            <pc:docMk/>
            <pc:sldMk cId="2209671935" sldId="264"/>
            <ac:spMk id="8" creationId="{7203EE96-D64F-4AB5-9A84-32E1E22EE016}"/>
          </ac:spMkLst>
        </pc:spChg>
        <pc:spChg chg="add del">
          <ac:chgData name="McLeod, Caroline" userId="S::cmcleod@greatdentalplans.com::43031ce9-49a3-4f5f-9207-5c83a33945f8" providerId="AD" clId="Web-{CDEBCBF4-586E-ED64-1A99-D976F5981014}" dt="2021-01-21T13:27:50.724" v="23"/>
          <ac:spMkLst>
            <pc:docMk/>
            <pc:sldMk cId="2209671935" sldId="264"/>
            <ac:spMk id="10" creationId="{C5C08A87-ADB5-46A3-9484-544A2E67A03A}"/>
          </ac:spMkLst>
        </pc:spChg>
        <pc:spChg chg="add del">
          <ac:chgData name="McLeod, Caroline" userId="S::cmcleod@greatdentalplans.com::43031ce9-49a3-4f5f-9207-5c83a33945f8" providerId="AD" clId="Web-{CDEBCBF4-586E-ED64-1A99-D976F5981014}" dt="2021-01-21T13:27:50.724" v="22"/>
          <ac:spMkLst>
            <pc:docMk/>
            <pc:sldMk cId="2209671935" sldId="264"/>
            <ac:spMk id="12" creationId="{0FEABC54-71BB-468A-9A7C-AC82C180D90A}"/>
          </ac:spMkLst>
        </pc:spChg>
        <pc:spChg chg="add del">
          <ac:chgData name="McLeod, Caroline" userId="S::cmcleod@greatdentalplans.com::43031ce9-49a3-4f5f-9207-5c83a33945f8" providerId="AD" clId="Web-{CDEBCBF4-586E-ED64-1A99-D976F5981014}" dt="2021-01-21T13:27:50.724" v="21"/>
          <ac:spMkLst>
            <pc:docMk/>
            <pc:sldMk cId="2209671935" sldId="264"/>
            <ac:spMk id="14" creationId="{566E3B60-5884-4CF1-90E9-3696B3D601AC}"/>
          </ac:spMkLst>
        </pc:spChg>
        <pc:spChg chg="add del">
          <ac:chgData name="McLeod, Caroline" userId="S::cmcleod@greatdentalplans.com::43031ce9-49a3-4f5f-9207-5c83a33945f8" providerId="AD" clId="Web-{CDEBCBF4-586E-ED64-1A99-D976F5981014}" dt="2021-01-21T13:27:50.724" v="17"/>
          <ac:spMkLst>
            <pc:docMk/>
            <pc:sldMk cId="2209671935" sldId="264"/>
            <ac:spMk id="22" creationId="{1E2717FF-CA0E-4C3D-B42A-63D0B01E95DA}"/>
          </ac:spMkLst>
        </pc:spChg>
        <pc:spChg chg="add del">
          <ac:chgData name="McLeod, Caroline" userId="S::cmcleod@greatdentalplans.com::43031ce9-49a3-4f5f-9207-5c83a33945f8" providerId="AD" clId="Web-{CDEBCBF4-586E-ED64-1A99-D976F5981014}" dt="2021-01-21T13:28:00.350" v="47"/>
          <ac:spMkLst>
            <pc:docMk/>
            <pc:sldMk cId="2209671935" sldId="264"/>
            <ac:spMk id="26" creationId="{789BB4AE-591A-4D68-880D-3F65DF3D95C1}"/>
          </ac:spMkLst>
        </pc:spChg>
        <pc:spChg chg="add del">
          <ac:chgData name="McLeod, Caroline" userId="S::cmcleod@greatdentalplans.com::43031ce9-49a3-4f5f-9207-5c83a33945f8" providerId="AD" clId="Web-{CDEBCBF4-586E-ED64-1A99-D976F5981014}" dt="2021-01-21T13:28:00.350" v="45"/>
          <ac:spMkLst>
            <pc:docMk/>
            <pc:sldMk cId="2209671935" sldId="264"/>
            <ac:spMk id="30" creationId="{39BAA5CA-F1F7-489A-BA06-6D2715189C4C}"/>
          </ac:spMkLst>
        </pc:spChg>
        <pc:spChg chg="add del">
          <ac:chgData name="McLeod, Caroline" userId="S::cmcleod@greatdentalplans.com::43031ce9-49a3-4f5f-9207-5c83a33945f8" providerId="AD" clId="Web-{CDEBCBF4-586E-ED64-1A99-D976F5981014}" dt="2021-01-21T13:28:00.350" v="44"/>
          <ac:spMkLst>
            <pc:docMk/>
            <pc:sldMk cId="2209671935" sldId="264"/>
            <ac:spMk id="32" creationId="{1AC6721A-B0E0-483D-937A-0DB0412B198E}"/>
          </ac:spMkLst>
        </pc:spChg>
        <pc:spChg chg="add del">
          <ac:chgData name="McLeod, Caroline" userId="S::cmcleod@greatdentalplans.com::43031ce9-49a3-4f5f-9207-5c83a33945f8" providerId="AD" clId="Web-{CDEBCBF4-586E-ED64-1A99-D976F5981014}" dt="2021-01-21T13:28:00.350" v="43"/>
          <ac:spMkLst>
            <pc:docMk/>
            <pc:sldMk cId="2209671935" sldId="264"/>
            <ac:spMk id="34" creationId="{86BC5772-A415-49C7-BD2F-C5F82D50A58E}"/>
          </ac:spMkLst>
        </pc:spChg>
        <pc:spChg chg="add del">
          <ac:chgData name="McLeod, Caroline" userId="S::cmcleod@greatdentalplans.com::43031ce9-49a3-4f5f-9207-5c83a33945f8" providerId="AD" clId="Web-{CDEBCBF4-586E-ED64-1A99-D976F5981014}" dt="2021-01-21T13:28:00.350" v="42"/>
          <ac:spMkLst>
            <pc:docMk/>
            <pc:sldMk cId="2209671935" sldId="264"/>
            <ac:spMk id="36" creationId="{3F9293F5-A337-4345-803A-C5154EDF03D0}"/>
          </ac:spMkLst>
        </pc:spChg>
        <pc:spChg chg="add del">
          <ac:chgData name="McLeod, Caroline" userId="S::cmcleod@greatdentalplans.com::43031ce9-49a3-4f5f-9207-5c83a33945f8" providerId="AD" clId="Web-{CDEBCBF4-586E-ED64-1A99-D976F5981014}" dt="2021-01-21T13:28:00.334" v="38"/>
          <ac:spMkLst>
            <pc:docMk/>
            <pc:sldMk cId="2209671935" sldId="264"/>
            <ac:spMk id="44" creationId="{0A9E0472-0FD3-40AE-8C60-489D6AA02098}"/>
          </ac:spMkLst>
        </pc:spChg>
        <pc:spChg chg="add mod">
          <ac:chgData name="McLeod, Caroline" userId="S::cmcleod@greatdentalplans.com::43031ce9-49a3-4f5f-9207-5c83a33945f8" providerId="AD" clId="Web-{CDEBCBF4-586E-ED64-1A99-D976F5981014}" dt="2021-01-21T13:37:17.427" v="156"/>
          <ac:spMkLst>
            <pc:docMk/>
            <pc:sldMk cId="2209671935" sldId="264"/>
            <ac:spMk id="48" creationId="{51EF5003-6620-42BB-AF8D-68A1C14639DF}"/>
          </ac:spMkLst>
        </pc:spChg>
        <pc:spChg chg="add mod">
          <ac:chgData name="McLeod, Caroline" userId="S::cmcleod@greatdentalplans.com::43031ce9-49a3-4f5f-9207-5c83a33945f8" providerId="AD" clId="Web-{CDEBCBF4-586E-ED64-1A99-D976F5981014}" dt="2021-01-21T13:37:01.317" v="150" actId="20577"/>
          <ac:spMkLst>
            <pc:docMk/>
            <pc:sldMk cId="2209671935" sldId="264"/>
            <ac:spMk id="50" creationId="{2AE59183-881D-4B0A-A16D-752A26266A41}"/>
          </ac:spMkLst>
        </pc:spChg>
        <pc:spChg chg="add mod">
          <ac:chgData name="McLeod, Caroline" userId="S::cmcleod@greatdentalplans.com::43031ce9-49a3-4f5f-9207-5c83a33945f8" providerId="AD" clId="Web-{CDEBCBF4-586E-ED64-1A99-D976F5981014}" dt="2021-01-21T13:37:04.239" v="152" actId="20577"/>
          <ac:spMkLst>
            <pc:docMk/>
            <pc:sldMk cId="2209671935" sldId="264"/>
            <ac:spMk id="52" creationId="{7546B801-8F7C-4E85-A6C5-4ED67B3787D1}"/>
          </ac:spMkLst>
        </pc:spChg>
        <pc:spChg chg="add mod">
          <ac:chgData name="McLeod, Caroline" userId="S::cmcleod@greatdentalplans.com::43031ce9-49a3-4f5f-9207-5c83a33945f8" providerId="AD" clId="Web-{CDEBCBF4-586E-ED64-1A99-D976F5981014}" dt="2021-01-21T13:37:30.677" v="158" actId="1076"/>
          <ac:spMkLst>
            <pc:docMk/>
            <pc:sldMk cId="2209671935" sldId="264"/>
            <ac:spMk id="54" creationId="{2D904E69-BCAE-4EA7-89DE-6F7DE90E45D7}"/>
          </ac:spMkLst>
        </pc:spChg>
        <pc:spChg chg="add mod">
          <ac:chgData name="McLeod, Caroline" userId="S::cmcleod@greatdentalplans.com::43031ce9-49a3-4f5f-9207-5c83a33945f8" providerId="AD" clId="Web-{CDEBCBF4-586E-ED64-1A99-D976F5981014}" dt="2021-01-21T13:37:09.379" v="155" actId="20577"/>
          <ac:spMkLst>
            <pc:docMk/>
            <pc:sldMk cId="2209671935" sldId="264"/>
            <ac:spMk id="56" creationId="{098B8E3E-B1C4-4EB3-9B39-BF79CF92D058}"/>
          </ac:spMkLst>
        </pc:spChg>
        <pc:spChg chg="add mod">
          <ac:chgData name="McLeod, Caroline" userId="S::cmcleod@greatdentalplans.com::43031ce9-49a3-4f5f-9207-5c83a33945f8" providerId="AD" clId="Web-{CDEBCBF4-586E-ED64-1A99-D976F5981014}" dt="2021-01-21T13:36:18.612" v="139" actId="1076"/>
          <ac:spMkLst>
            <pc:docMk/>
            <pc:sldMk cId="2209671935" sldId="264"/>
            <ac:spMk id="68" creationId="{77F64BFE-38C3-4F07-8C0B-563B16127DB0}"/>
          </ac:spMkLst>
        </pc:spChg>
        <pc:picChg chg="add del">
          <ac:chgData name="McLeod, Caroline" userId="S::cmcleod@greatdentalplans.com::43031ce9-49a3-4f5f-9207-5c83a33945f8" providerId="AD" clId="Web-{CDEBCBF4-586E-ED64-1A99-D976F5981014}" dt="2021-01-21T13:27:50.724" v="25"/>
          <ac:picMkLst>
            <pc:docMk/>
            <pc:sldMk cId="2209671935" sldId="264"/>
            <ac:picMk id="6" creationId="{AF90F92F-DB6E-408D-A6EF-0927B0B37A53}"/>
          </ac:picMkLst>
        </pc:picChg>
        <pc:picChg chg="add del">
          <ac:chgData name="McLeod, Caroline" userId="S::cmcleod@greatdentalplans.com::43031ce9-49a3-4f5f-9207-5c83a33945f8" providerId="AD" clId="Web-{CDEBCBF4-586E-ED64-1A99-D976F5981014}" dt="2021-01-21T13:27:50.724" v="20"/>
          <ac:picMkLst>
            <pc:docMk/>
            <pc:sldMk cId="2209671935" sldId="264"/>
            <ac:picMk id="16" creationId="{6B37056D-F884-47FD-9ADD-0F4D309E4D2A}"/>
          </ac:picMkLst>
        </pc:picChg>
        <pc:picChg chg="add del">
          <ac:chgData name="McLeod, Caroline" userId="S::cmcleod@greatdentalplans.com::43031ce9-49a3-4f5f-9207-5c83a33945f8" providerId="AD" clId="Web-{CDEBCBF4-586E-ED64-1A99-D976F5981014}" dt="2021-01-21T13:27:50.724" v="19"/>
          <ac:picMkLst>
            <pc:docMk/>
            <pc:sldMk cId="2209671935" sldId="264"/>
            <ac:picMk id="18" creationId="{8C292A5E-CCDA-4F4B-B43F-C53306EF1525}"/>
          </ac:picMkLst>
        </pc:picChg>
        <pc:picChg chg="add del">
          <ac:chgData name="McLeod, Caroline" userId="S::cmcleod@greatdentalplans.com::43031ce9-49a3-4f5f-9207-5c83a33945f8" providerId="AD" clId="Web-{CDEBCBF4-586E-ED64-1A99-D976F5981014}" dt="2021-01-21T13:27:50.724" v="18"/>
          <ac:picMkLst>
            <pc:docMk/>
            <pc:sldMk cId="2209671935" sldId="264"/>
            <ac:picMk id="20" creationId="{03991E08-73F0-4A70-9439-135D17A22D02}"/>
          </ac:picMkLst>
        </pc:picChg>
        <pc:picChg chg="add del">
          <ac:chgData name="McLeod, Caroline" userId="S::cmcleod@greatdentalplans.com::43031ce9-49a3-4f5f-9207-5c83a33945f8" providerId="AD" clId="Web-{CDEBCBF4-586E-ED64-1A99-D976F5981014}" dt="2021-01-21T13:27:50.724" v="16"/>
          <ac:picMkLst>
            <pc:docMk/>
            <pc:sldMk cId="2209671935" sldId="264"/>
            <ac:picMk id="24" creationId="{1E4EBCE9-48C4-4140-9E6D-A7749CC6FFE9}"/>
          </ac:picMkLst>
        </pc:picChg>
        <pc:picChg chg="add del">
          <ac:chgData name="McLeod, Caroline" userId="S::cmcleod@greatdentalplans.com::43031ce9-49a3-4f5f-9207-5c83a33945f8" providerId="AD" clId="Web-{CDEBCBF4-586E-ED64-1A99-D976F5981014}" dt="2021-01-21T13:28:00.350" v="46"/>
          <ac:picMkLst>
            <pc:docMk/>
            <pc:sldMk cId="2209671935" sldId="264"/>
            <ac:picMk id="28" creationId="{7FE691C6-27BA-4D69-876C-DB4AF13C02BC}"/>
          </ac:picMkLst>
        </pc:picChg>
        <pc:picChg chg="add del">
          <ac:chgData name="McLeod, Caroline" userId="S::cmcleod@greatdentalplans.com::43031ce9-49a3-4f5f-9207-5c83a33945f8" providerId="AD" clId="Web-{CDEBCBF4-586E-ED64-1A99-D976F5981014}" dt="2021-01-21T13:28:00.334" v="41"/>
          <ac:picMkLst>
            <pc:docMk/>
            <pc:sldMk cId="2209671935" sldId="264"/>
            <ac:picMk id="38" creationId="{B5FD4A2D-45EE-4DFD-B5A3-A937280DD74B}"/>
          </ac:picMkLst>
        </pc:picChg>
        <pc:picChg chg="add del">
          <ac:chgData name="McLeod, Caroline" userId="S::cmcleod@greatdentalplans.com::43031ce9-49a3-4f5f-9207-5c83a33945f8" providerId="AD" clId="Web-{CDEBCBF4-586E-ED64-1A99-D976F5981014}" dt="2021-01-21T13:28:00.334" v="40"/>
          <ac:picMkLst>
            <pc:docMk/>
            <pc:sldMk cId="2209671935" sldId="264"/>
            <ac:picMk id="40" creationId="{4938FB99-B3DB-4A5C-8437-7486B0E4FC69}"/>
          </ac:picMkLst>
        </pc:picChg>
        <pc:picChg chg="add del">
          <ac:chgData name="McLeod, Caroline" userId="S::cmcleod@greatdentalplans.com::43031ce9-49a3-4f5f-9207-5c83a33945f8" providerId="AD" clId="Web-{CDEBCBF4-586E-ED64-1A99-D976F5981014}" dt="2021-01-21T13:28:00.334" v="39"/>
          <ac:picMkLst>
            <pc:docMk/>
            <pc:sldMk cId="2209671935" sldId="264"/>
            <ac:picMk id="42" creationId="{5F6BCDCE-8791-49DA-A4D3-6ADEF81148C3}"/>
          </ac:picMkLst>
        </pc:picChg>
        <pc:picChg chg="add del">
          <ac:chgData name="McLeod, Caroline" userId="S::cmcleod@greatdentalplans.com::43031ce9-49a3-4f5f-9207-5c83a33945f8" providerId="AD" clId="Web-{CDEBCBF4-586E-ED64-1A99-D976F5981014}" dt="2021-01-21T13:28:00.334" v="37"/>
          <ac:picMkLst>
            <pc:docMk/>
            <pc:sldMk cId="2209671935" sldId="264"/>
            <ac:picMk id="46" creationId="{D43D6B84-2A68-482B-958E-33D43E9F18D8}"/>
          </ac:picMkLst>
        </pc:picChg>
        <pc:picChg chg="add del mod">
          <ac:chgData name="McLeod, Caroline" userId="S::cmcleod@greatdentalplans.com::43031ce9-49a3-4f5f-9207-5c83a33945f8" providerId="AD" clId="Web-{CDEBCBF4-586E-ED64-1A99-D976F5981014}" dt="2021-01-21T13:32:34.825" v="81"/>
          <ac:picMkLst>
            <pc:docMk/>
            <pc:sldMk cId="2209671935" sldId="264"/>
            <ac:picMk id="58" creationId="{86614394-E92D-44AF-B9AC-56018AE51B23}"/>
          </ac:picMkLst>
        </pc:picChg>
        <pc:picChg chg="add del mod">
          <ac:chgData name="McLeod, Caroline" userId="S::cmcleod@greatdentalplans.com::43031ce9-49a3-4f5f-9207-5c83a33945f8" providerId="AD" clId="Web-{CDEBCBF4-586E-ED64-1A99-D976F5981014}" dt="2021-01-21T13:32:33.669" v="80"/>
          <ac:picMkLst>
            <pc:docMk/>
            <pc:sldMk cId="2209671935" sldId="264"/>
            <ac:picMk id="60" creationId="{2521A7B3-2D56-4C3A-AA45-E585CB2E47BC}"/>
          </ac:picMkLst>
        </pc:picChg>
        <pc:picChg chg="add del mod">
          <ac:chgData name="McLeod, Caroline" userId="S::cmcleod@greatdentalplans.com::43031ce9-49a3-4f5f-9207-5c83a33945f8" providerId="AD" clId="Web-{CDEBCBF4-586E-ED64-1A99-D976F5981014}" dt="2021-01-21T13:32:32.529" v="79"/>
          <ac:picMkLst>
            <pc:docMk/>
            <pc:sldMk cId="2209671935" sldId="264"/>
            <ac:picMk id="62" creationId="{01881578-96B3-4654-9EE3-262A6893CF34}"/>
          </ac:picMkLst>
        </pc:picChg>
        <pc:picChg chg="add del mod">
          <ac:chgData name="McLeod, Caroline" userId="S::cmcleod@greatdentalplans.com::43031ce9-49a3-4f5f-9207-5c83a33945f8" providerId="AD" clId="Web-{CDEBCBF4-586E-ED64-1A99-D976F5981014}" dt="2021-01-21T13:32:36.450" v="82"/>
          <ac:picMkLst>
            <pc:docMk/>
            <pc:sldMk cId="2209671935" sldId="264"/>
            <ac:picMk id="64" creationId="{D9464DB5-6A8B-46AD-8BD8-3B8626DD1540}"/>
          </ac:picMkLst>
        </pc:picChg>
        <pc:picChg chg="add mod">
          <ac:chgData name="McLeod, Caroline" userId="S::cmcleod@greatdentalplans.com::43031ce9-49a3-4f5f-9207-5c83a33945f8" providerId="AD" clId="Web-{CDEBCBF4-586E-ED64-1A99-D976F5981014}" dt="2021-01-21T13:36:18.597" v="138" actId="1076"/>
          <ac:picMkLst>
            <pc:docMk/>
            <pc:sldMk cId="2209671935" sldId="264"/>
            <ac:picMk id="66" creationId="{6F7AEA30-C71E-4C0B-9C63-65E4CDDDE452}"/>
          </ac:picMkLst>
        </pc:picChg>
        <pc:picChg chg="add mod">
          <ac:chgData name="McLeod, Caroline" userId="S::cmcleod@greatdentalplans.com::43031ce9-49a3-4f5f-9207-5c83a33945f8" providerId="AD" clId="Web-{CDEBCBF4-586E-ED64-1A99-D976F5981014}" dt="2021-01-21T13:36:18.612" v="140" actId="1076"/>
          <ac:picMkLst>
            <pc:docMk/>
            <pc:sldMk cId="2209671935" sldId="264"/>
            <ac:picMk id="70" creationId="{BA7234FE-BCCC-4B70-9FD5-9BB5046CFF36}"/>
          </ac:picMkLst>
        </pc:picChg>
        <pc:picChg chg="add mod">
          <ac:chgData name="McLeod, Caroline" userId="S::cmcleod@greatdentalplans.com::43031ce9-49a3-4f5f-9207-5c83a33945f8" providerId="AD" clId="Web-{CDEBCBF4-586E-ED64-1A99-D976F5981014}" dt="2021-01-21T13:36:32.832" v="145" actId="1076"/>
          <ac:picMkLst>
            <pc:docMk/>
            <pc:sldMk cId="2209671935" sldId="264"/>
            <ac:picMk id="72" creationId="{DC4E2356-10A1-4F04-9913-7A301BFF17CE}"/>
          </ac:picMkLst>
        </pc:picChg>
        <pc:picChg chg="add mod">
          <ac:chgData name="McLeod, Caroline" userId="S::cmcleod@greatdentalplans.com::43031ce9-49a3-4f5f-9207-5c83a33945f8" providerId="AD" clId="Web-{CDEBCBF4-586E-ED64-1A99-D976F5981014}" dt="2021-01-21T13:37:26.802" v="157" actId="1076"/>
          <ac:picMkLst>
            <pc:docMk/>
            <pc:sldMk cId="2209671935" sldId="264"/>
            <ac:picMk id="74" creationId="{55CF3E2B-D8CC-47E4-A188-D527F4B17718}"/>
          </ac:picMkLst>
        </pc:picChg>
        <pc:picChg chg="add mod">
          <ac:chgData name="McLeod, Caroline" userId="S::cmcleod@greatdentalplans.com::43031ce9-49a3-4f5f-9207-5c83a33945f8" providerId="AD" clId="Web-{CDEBCBF4-586E-ED64-1A99-D976F5981014}" dt="2021-01-21T13:36:46.957" v="149" actId="1076"/>
          <ac:picMkLst>
            <pc:docMk/>
            <pc:sldMk cId="2209671935" sldId="264"/>
            <ac:picMk id="76" creationId="{BF031F27-FE16-476F-ADB5-AAF43B0DFCD5}"/>
          </ac:picMkLst>
        </pc:picChg>
      </pc:sldChg>
      <pc:sldChg chg="modSp add del">
        <pc:chgData name="McLeod, Caroline" userId="S::cmcleod@greatdentalplans.com::43031ce9-49a3-4f5f-9207-5c83a33945f8" providerId="AD" clId="Web-{CDEBCBF4-586E-ED64-1A99-D976F5981014}" dt="2021-01-21T13:38:03.146" v="164"/>
        <pc:sldMkLst>
          <pc:docMk/>
          <pc:sldMk cId="602250785" sldId="265"/>
        </pc:sldMkLst>
        <pc:spChg chg="mod">
          <ac:chgData name="McLeod, Caroline" userId="S::cmcleod@greatdentalplans.com::43031ce9-49a3-4f5f-9207-5c83a33945f8" providerId="AD" clId="Web-{CDEBCBF4-586E-ED64-1A99-D976F5981014}" dt="2021-01-21T13:35:23.595" v="124" actId="1076"/>
          <ac:spMkLst>
            <pc:docMk/>
            <pc:sldMk cId="602250785" sldId="265"/>
            <ac:spMk id="15" creationId="{9D9077FC-B216-43C8-A743-1F08F3839174}"/>
          </ac:spMkLst>
        </pc:spChg>
      </pc:sldChg>
      <pc:sldChg chg="add replId">
        <pc:chgData name="McLeod, Caroline" userId="S::cmcleod@greatdentalplans.com::43031ce9-49a3-4f5f-9207-5c83a33945f8" providerId="AD" clId="Web-{CDEBCBF4-586E-ED64-1A99-D976F5981014}" dt="2021-01-21T13:39:11.351" v="167"/>
        <pc:sldMkLst>
          <pc:docMk/>
          <pc:sldMk cId="2201980698" sldId="265"/>
        </pc:sldMkLst>
      </pc:sldChg>
      <pc:sldChg chg="add del">
        <pc:chgData name="McLeod, Caroline" userId="S::cmcleod@greatdentalplans.com::43031ce9-49a3-4f5f-9207-5c83a33945f8" providerId="AD" clId="Web-{CDEBCBF4-586E-ED64-1A99-D976F5981014}" dt="2021-01-21T13:32:18.575" v="78"/>
        <pc:sldMkLst>
          <pc:docMk/>
          <pc:sldMk cId="3784093730" sldId="266"/>
        </pc:sldMkLst>
      </pc:sldChg>
      <pc:sldChg chg="addSp delSp modSp add mod replId modClrScheme chgLayout modNotes">
        <pc:chgData name="McLeod, Caroline" userId="S::cmcleod@greatdentalplans.com::43031ce9-49a3-4f5f-9207-5c83a33945f8" providerId="AD" clId="Web-{CDEBCBF4-586E-ED64-1A99-D976F5981014}" dt="2021-01-21T13:40:48.276" v="206"/>
        <pc:sldMkLst>
          <pc:docMk/>
          <pc:sldMk cId="3915446189" sldId="266"/>
        </pc:sldMkLst>
        <pc:spChg chg="mod ord">
          <ac:chgData name="McLeod, Caroline" userId="S::cmcleod@greatdentalplans.com::43031ce9-49a3-4f5f-9207-5c83a33945f8" providerId="AD" clId="Web-{CDEBCBF4-586E-ED64-1A99-D976F5981014}" dt="2021-01-21T13:39:49.540" v="177" actId="20577"/>
          <ac:spMkLst>
            <pc:docMk/>
            <pc:sldMk cId="3915446189" sldId="266"/>
            <ac:spMk id="2" creationId="{FBF075A1-46F6-49D2-B4F2-2259C6296EA0}"/>
          </ac:spMkLst>
        </pc:spChg>
        <pc:spChg chg="add del mod ord">
          <ac:chgData name="McLeod, Caroline" userId="S::cmcleod@greatdentalplans.com::43031ce9-49a3-4f5f-9207-5c83a33945f8" providerId="AD" clId="Web-{CDEBCBF4-586E-ED64-1A99-D976F5981014}" dt="2021-01-21T13:39:50.743" v="178"/>
          <ac:spMkLst>
            <pc:docMk/>
            <pc:sldMk cId="3915446189" sldId="266"/>
            <ac:spMk id="3" creationId="{9AC2EC87-3DDF-495E-B52E-712640FD035A}"/>
          </ac:spMkLst>
        </pc:spChg>
        <pc:spChg chg="add del mod ord">
          <ac:chgData name="McLeod, Caroline" userId="S::cmcleod@greatdentalplans.com::43031ce9-49a3-4f5f-9207-5c83a33945f8" providerId="AD" clId="Web-{CDEBCBF4-586E-ED64-1A99-D976F5981014}" dt="2021-01-21T13:40:18.103" v="198"/>
          <ac:spMkLst>
            <pc:docMk/>
            <pc:sldMk cId="3915446189" sldId="266"/>
            <ac:spMk id="4" creationId="{1D550A08-0892-49F5-9E61-1CB9924141BC}"/>
          </ac:spMkLst>
        </pc:spChg>
        <pc:spChg chg="add mod">
          <ac:chgData name="McLeod, Caroline" userId="S::cmcleod@greatdentalplans.com::43031ce9-49a3-4f5f-9207-5c83a33945f8" providerId="AD" clId="Web-{CDEBCBF4-586E-ED64-1A99-D976F5981014}" dt="2021-01-21T13:40:37.775" v="203" actId="1076"/>
          <ac:spMkLst>
            <pc:docMk/>
            <pc:sldMk cId="3915446189" sldId="266"/>
            <ac:spMk id="6" creationId="{334D3220-5F86-4FD8-AC38-478D48D3C988}"/>
          </ac:spMkLst>
        </pc:spChg>
        <pc:spChg chg="add del mod">
          <ac:chgData name="McLeod, Caroline" userId="S::cmcleod@greatdentalplans.com::43031ce9-49a3-4f5f-9207-5c83a33945f8" providerId="AD" clId="Web-{CDEBCBF4-586E-ED64-1A99-D976F5981014}" dt="2021-01-21T13:40:20.369" v="199"/>
          <ac:spMkLst>
            <pc:docMk/>
            <pc:sldMk cId="3915446189" sldId="266"/>
            <ac:spMk id="8" creationId="{4603155E-67E4-4058-9044-2C32BCA6CB64}"/>
          </ac:spMkLst>
        </pc:spChg>
        <pc:picChg chg="add mod">
          <ac:chgData name="McLeod, Caroline" userId="S::cmcleod@greatdentalplans.com::43031ce9-49a3-4f5f-9207-5c83a33945f8" providerId="AD" clId="Web-{CDEBCBF4-586E-ED64-1A99-D976F5981014}" dt="2021-01-21T13:39:57.634" v="181" actId="1076"/>
          <ac:picMkLst>
            <pc:docMk/>
            <pc:sldMk cId="3915446189" sldId="266"/>
            <ac:picMk id="5" creationId="{2FE323A5-73CD-4EB5-A611-8223B12FC0D8}"/>
          </ac:picMkLst>
        </pc:picChg>
      </pc:sldChg>
      <pc:sldChg chg="addSp delSp modSp new modNotes">
        <pc:chgData name="McLeod, Caroline" userId="S::cmcleod@greatdentalplans.com::43031ce9-49a3-4f5f-9207-5c83a33945f8" providerId="AD" clId="Web-{CDEBCBF4-586E-ED64-1A99-D976F5981014}" dt="2021-01-21T13:54:38.922" v="477" actId="1076"/>
        <pc:sldMkLst>
          <pc:docMk/>
          <pc:sldMk cId="439320483" sldId="267"/>
        </pc:sldMkLst>
        <pc:spChg chg="mod">
          <ac:chgData name="McLeod, Caroline" userId="S::cmcleod@greatdentalplans.com::43031ce9-49a3-4f5f-9207-5c83a33945f8" providerId="AD" clId="Web-{CDEBCBF4-586E-ED64-1A99-D976F5981014}" dt="2021-01-21T13:47:55.209" v="267" actId="20577"/>
          <ac:spMkLst>
            <pc:docMk/>
            <pc:sldMk cId="439320483" sldId="267"/>
            <ac:spMk id="2" creationId="{353483D8-E853-4CEA-B617-1D057AFC7015}"/>
          </ac:spMkLst>
        </pc:spChg>
        <pc:spChg chg="del">
          <ac:chgData name="McLeod, Caroline" userId="S::cmcleod@greatdentalplans.com::43031ce9-49a3-4f5f-9207-5c83a33945f8" providerId="AD" clId="Web-{CDEBCBF4-586E-ED64-1A99-D976F5981014}" dt="2021-01-21T13:47:56.256" v="268"/>
          <ac:spMkLst>
            <pc:docMk/>
            <pc:sldMk cId="439320483" sldId="267"/>
            <ac:spMk id="3" creationId="{48B960E2-72AE-438C-A698-6E2C68FB8498}"/>
          </ac:spMkLst>
        </pc:spChg>
        <pc:picChg chg="add del mod">
          <ac:chgData name="McLeod, Caroline" userId="S::cmcleod@greatdentalplans.com::43031ce9-49a3-4f5f-9207-5c83a33945f8" providerId="AD" clId="Web-{CDEBCBF4-586E-ED64-1A99-D976F5981014}" dt="2021-01-21T13:48:00.943" v="270"/>
          <ac:picMkLst>
            <pc:docMk/>
            <pc:sldMk cId="439320483" sldId="267"/>
            <ac:picMk id="5" creationId="{CD0D2171-05D0-4DC2-A9FB-2221CE8D960A}"/>
          </ac:picMkLst>
        </pc:picChg>
        <pc:picChg chg="add mod">
          <ac:chgData name="McLeod, Caroline" userId="S::cmcleod@greatdentalplans.com::43031ce9-49a3-4f5f-9207-5c83a33945f8" providerId="AD" clId="Web-{CDEBCBF4-586E-ED64-1A99-D976F5981014}" dt="2021-01-21T13:53:37.155" v="469" actId="1076"/>
          <ac:picMkLst>
            <pc:docMk/>
            <pc:sldMk cId="439320483" sldId="267"/>
            <ac:picMk id="6" creationId="{96BF7EBF-2361-44EA-920A-19F8519191AA}"/>
          </ac:picMkLst>
        </pc:picChg>
        <pc:picChg chg="add mod">
          <ac:chgData name="McLeod, Caroline" userId="S::cmcleod@greatdentalplans.com::43031ce9-49a3-4f5f-9207-5c83a33945f8" providerId="AD" clId="Web-{CDEBCBF4-586E-ED64-1A99-D976F5981014}" dt="2021-01-21T13:54:38.922" v="477" actId="1076"/>
          <ac:picMkLst>
            <pc:docMk/>
            <pc:sldMk cId="439320483" sldId="267"/>
            <ac:picMk id="7" creationId="{66E2B605-8BBD-4106-B31A-6B2B81EE1F2C}"/>
          </ac:picMkLst>
        </pc:picChg>
      </pc:sldChg>
      <pc:sldChg chg="modSp add ord replId">
        <pc:chgData name="McLeod, Caroline" userId="S::cmcleod@greatdentalplans.com::43031ce9-49a3-4f5f-9207-5c83a33945f8" providerId="AD" clId="Web-{CDEBCBF4-586E-ED64-1A99-D976F5981014}" dt="2021-01-21T14:02:00.902" v="601" actId="1076"/>
        <pc:sldMkLst>
          <pc:docMk/>
          <pc:sldMk cId="1820070721" sldId="268"/>
        </pc:sldMkLst>
        <pc:spChg chg="mod">
          <ac:chgData name="McLeod, Caroline" userId="S::cmcleod@greatdentalplans.com::43031ce9-49a3-4f5f-9207-5c83a33945f8" providerId="AD" clId="Web-{CDEBCBF4-586E-ED64-1A99-D976F5981014}" dt="2021-01-21T14:02:00.902" v="601" actId="1076"/>
          <ac:spMkLst>
            <pc:docMk/>
            <pc:sldMk cId="1820070721" sldId="268"/>
            <ac:spMk id="2" creationId="{FBF075A1-46F6-49D2-B4F2-2259C6296EA0}"/>
          </ac:spMkLst>
        </pc:spChg>
      </pc:sldChg>
      <pc:sldChg chg="add">
        <pc:chgData name="McLeod, Caroline" userId="S::cmcleod@greatdentalplans.com::43031ce9-49a3-4f5f-9207-5c83a33945f8" providerId="AD" clId="Web-{CDEBCBF4-586E-ED64-1A99-D976F5981014}" dt="2021-01-21T13:43:07.670" v="219"/>
        <pc:sldMkLst>
          <pc:docMk/>
          <pc:sldMk cId="2764848591" sldId="269"/>
        </pc:sldMkLst>
      </pc:sldChg>
      <pc:sldChg chg="add">
        <pc:chgData name="McLeod, Caroline" userId="S::cmcleod@greatdentalplans.com::43031ce9-49a3-4f5f-9207-5c83a33945f8" providerId="AD" clId="Web-{CDEBCBF4-586E-ED64-1A99-D976F5981014}" dt="2021-01-21T13:43:07.717" v="220"/>
        <pc:sldMkLst>
          <pc:docMk/>
          <pc:sldMk cId="3729678054" sldId="270"/>
        </pc:sldMkLst>
      </pc:sldChg>
      <pc:sldChg chg="add">
        <pc:chgData name="McLeod, Caroline" userId="S::cmcleod@greatdentalplans.com::43031ce9-49a3-4f5f-9207-5c83a33945f8" providerId="AD" clId="Web-{CDEBCBF4-586E-ED64-1A99-D976F5981014}" dt="2021-01-21T13:43:07.779" v="221"/>
        <pc:sldMkLst>
          <pc:docMk/>
          <pc:sldMk cId="1374640660" sldId="271"/>
        </pc:sldMkLst>
      </pc:sldChg>
      <pc:sldChg chg="addSp modSp new mod modClrScheme chgLayout">
        <pc:chgData name="McLeod, Caroline" userId="S::cmcleod@greatdentalplans.com::43031ce9-49a3-4f5f-9207-5c83a33945f8" providerId="AD" clId="Web-{CDEBCBF4-586E-ED64-1A99-D976F5981014}" dt="2021-01-21T13:44:50.766" v="252" actId="20577"/>
        <pc:sldMkLst>
          <pc:docMk/>
          <pc:sldMk cId="696052771" sldId="272"/>
        </pc:sldMkLst>
        <pc:spChg chg="mod ord">
          <ac:chgData name="McLeod, Caroline" userId="S::cmcleod@greatdentalplans.com::43031ce9-49a3-4f5f-9207-5c83a33945f8" providerId="AD" clId="Web-{CDEBCBF4-586E-ED64-1A99-D976F5981014}" dt="2021-01-21T13:44:50.766" v="252" actId="20577"/>
          <ac:spMkLst>
            <pc:docMk/>
            <pc:sldMk cId="696052771" sldId="272"/>
            <ac:spMk id="2" creationId="{E034392D-753F-440A-8DE4-6C170094B792}"/>
          </ac:spMkLst>
        </pc:spChg>
        <pc:spChg chg="mod ord">
          <ac:chgData name="McLeod, Caroline" userId="S::cmcleod@greatdentalplans.com::43031ce9-49a3-4f5f-9207-5c83a33945f8" providerId="AD" clId="Web-{CDEBCBF4-586E-ED64-1A99-D976F5981014}" dt="2021-01-21T13:44:30.828" v="223"/>
          <ac:spMkLst>
            <pc:docMk/>
            <pc:sldMk cId="696052771" sldId="272"/>
            <ac:spMk id="3" creationId="{E2C15854-EBCB-420B-A63A-EEE5C8094E4E}"/>
          </ac:spMkLst>
        </pc:spChg>
        <pc:spChg chg="add mod ord">
          <ac:chgData name="McLeod, Caroline" userId="S::cmcleod@greatdentalplans.com::43031ce9-49a3-4f5f-9207-5c83a33945f8" providerId="AD" clId="Web-{CDEBCBF4-586E-ED64-1A99-D976F5981014}" dt="2021-01-21T13:44:30.828" v="223"/>
          <ac:spMkLst>
            <pc:docMk/>
            <pc:sldMk cId="696052771" sldId="272"/>
            <ac:spMk id="4" creationId="{8E08DF82-6F1A-410F-97D0-98FA39F74B5F}"/>
          </ac:spMkLst>
        </pc:spChg>
      </pc:sldChg>
      <pc:sldChg chg="add">
        <pc:chgData name="McLeod, Caroline" userId="S::cmcleod@greatdentalplans.com::43031ce9-49a3-4f5f-9207-5c83a33945f8" providerId="AD" clId="Web-{CDEBCBF4-586E-ED64-1A99-D976F5981014}" dt="2021-01-21T13:57:06.879" v="478"/>
        <pc:sldMkLst>
          <pc:docMk/>
          <pc:sldMk cId="3578281583" sldId="273"/>
        </pc:sldMkLst>
      </pc:sldChg>
      <pc:sldChg chg="modSp new">
        <pc:chgData name="McLeod, Caroline" userId="S::cmcleod@greatdentalplans.com::43031ce9-49a3-4f5f-9207-5c83a33945f8" providerId="AD" clId="Web-{CDEBCBF4-586E-ED64-1A99-D976F5981014}" dt="2021-01-21T13:58:30.725" v="497" actId="20577"/>
        <pc:sldMkLst>
          <pc:docMk/>
          <pc:sldMk cId="3821480671" sldId="274"/>
        </pc:sldMkLst>
        <pc:spChg chg="mod">
          <ac:chgData name="McLeod, Caroline" userId="S::cmcleod@greatdentalplans.com::43031ce9-49a3-4f5f-9207-5c83a33945f8" providerId="AD" clId="Web-{CDEBCBF4-586E-ED64-1A99-D976F5981014}" dt="2021-01-21T13:58:30.725" v="497" actId="20577"/>
          <ac:spMkLst>
            <pc:docMk/>
            <pc:sldMk cId="3821480671" sldId="274"/>
            <ac:spMk id="2" creationId="{8AA389B3-1CC8-4AE8-8380-8F61B9562176}"/>
          </ac:spMkLst>
        </pc:spChg>
      </pc:sldChg>
      <pc:sldChg chg="add ord replId">
        <pc:chgData name="McLeod, Caroline" userId="S::cmcleod@greatdentalplans.com::43031ce9-49a3-4f5f-9207-5c83a33945f8" providerId="AD" clId="Web-{CDEBCBF4-586E-ED64-1A99-D976F5981014}" dt="2021-01-21T13:58:35.975" v="499"/>
        <pc:sldMkLst>
          <pc:docMk/>
          <pc:sldMk cId="3725104515" sldId="275"/>
        </pc:sldMkLst>
      </pc:sldChg>
      <pc:sldChg chg="modSp add ord replId">
        <pc:chgData name="McLeod, Caroline" userId="S::cmcleod@greatdentalplans.com::43031ce9-49a3-4f5f-9207-5c83a33945f8" providerId="AD" clId="Web-{CDEBCBF4-586E-ED64-1A99-D976F5981014}" dt="2021-01-21T13:59:11.757" v="517" actId="20577"/>
        <pc:sldMkLst>
          <pc:docMk/>
          <pc:sldMk cId="1279239907" sldId="276"/>
        </pc:sldMkLst>
        <pc:spChg chg="mod">
          <ac:chgData name="McLeod, Caroline" userId="S::cmcleod@greatdentalplans.com::43031ce9-49a3-4f5f-9207-5c83a33945f8" providerId="AD" clId="Web-{CDEBCBF4-586E-ED64-1A99-D976F5981014}" dt="2021-01-21T13:59:11.757" v="517" actId="20577"/>
          <ac:spMkLst>
            <pc:docMk/>
            <pc:sldMk cId="1279239907" sldId="276"/>
            <ac:spMk id="2" creationId="{8AA389B3-1CC8-4AE8-8380-8F61B9562176}"/>
          </ac:spMkLst>
        </pc:spChg>
      </pc:sldChg>
      <pc:sldChg chg="modSp new ord">
        <pc:chgData name="McLeod, Caroline" userId="S::cmcleod@greatdentalplans.com::43031ce9-49a3-4f5f-9207-5c83a33945f8" providerId="AD" clId="Web-{CDEBCBF4-586E-ED64-1A99-D976F5981014}" dt="2021-01-21T13:59:57.806" v="547" actId="20577"/>
        <pc:sldMkLst>
          <pc:docMk/>
          <pc:sldMk cId="2153171638" sldId="277"/>
        </pc:sldMkLst>
        <pc:spChg chg="mod">
          <ac:chgData name="McLeod, Caroline" userId="S::cmcleod@greatdentalplans.com::43031ce9-49a3-4f5f-9207-5c83a33945f8" providerId="AD" clId="Web-{CDEBCBF4-586E-ED64-1A99-D976F5981014}" dt="2021-01-21T13:59:22.258" v="533" actId="20577"/>
          <ac:spMkLst>
            <pc:docMk/>
            <pc:sldMk cId="2153171638" sldId="277"/>
            <ac:spMk id="2" creationId="{87F7C080-1289-41EF-ABAF-161F07281BDD}"/>
          </ac:spMkLst>
        </pc:spChg>
        <pc:spChg chg="mod">
          <ac:chgData name="McLeod, Caroline" userId="S::cmcleod@greatdentalplans.com::43031ce9-49a3-4f5f-9207-5c83a33945f8" providerId="AD" clId="Web-{CDEBCBF4-586E-ED64-1A99-D976F5981014}" dt="2021-01-21T13:59:57.806" v="547" actId="20577"/>
          <ac:spMkLst>
            <pc:docMk/>
            <pc:sldMk cId="2153171638" sldId="277"/>
            <ac:spMk id="3" creationId="{777BA8D7-D8ED-4E75-A7E3-FAD9386AD960}"/>
          </ac:spMkLst>
        </pc:spChg>
      </pc:sldChg>
      <pc:sldChg chg="delSp modSp new del mod modClrScheme chgLayout">
        <pc:chgData name="McLeod, Caroline" userId="S::cmcleod@greatdentalplans.com::43031ce9-49a3-4f5f-9207-5c83a33945f8" providerId="AD" clId="Web-{CDEBCBF4-586E-ED64-1A99-D976F5981014}" dt="2021-01-21T14:03:31.764" v="608"/>
        <pc:sldMkLst>
          <pc:docMk/>
          <pc:sldMk cId="1482966192" sldId="278"/>
        </pc:sldMkLst>
        <pc:spChg chg="mod ord">
          <ac:chgData name="McLeod, Caroline" userId="S::cmcleod@greatdentalplans.com::43031ce9-49a3-4f5f-9207-5c83a33945f8" providerId="AD" clId="Web-{CDEBCBF4-586E-ED64-1A99-D976F5981014}" dt="2021-01-21T14:00:23.869" v="549"/>
          <ac:spMkLst>
            <pc:docMk/>
            <pc:sldMk cId="1482966192" sldId="278"/>
            <ac:spMk id="2" creationId="{C0ED1B09-A36B-4486-B16E-3AA52CB3E3A8}"/>
          </ac:spMkLst>
        </pc:spChg>
        <pc:spChg chg="del">
          <ac:chgData name="McLeod, Caroline" userId="S::cmcleod@greatdentalplans.com::43031ce9-49a3-4f5f-9207-5c83a33945f8" providerId="AD" clId="Web-{CDEBCBF4-586E-ED64-1A99-D976F5981014}" dt="2021-01-21T14:00:23.869" v="549"/>
          <ac:spMkLst>
            <pc:docMk/>
            <pc:sldMk cId="1482966192" sldId="278"/>
            <ac:spMk id="3" creationId="{12BDB35E-ED51-4BBD-A4A7-FA58C1132246}"/>
          </ac:spMkLst>
        </pc:spChg>
        <pc:spChg chg="mod ord">
          <ac:chgData name="McLeod, Caroline" userId="S::cmcleod@greatdentalplans.com::43031ce9-49a3-4f5f-9207-5c83a33945f8" providerId="AD" clId="Web-{CDEBCBF4-586E-ED64-1A99-D976F5981014}" dt="2021-01-21T14:00:26.525" v="550" actId="20577"/>
          <ac:spMkLst>
            <pc:docMk/>
            <pc:sldMk cId="1482966192" sldId="278"/>
            <ac:spMk id="4" creationId="{DDA7DCFA-6C1E-4C07-8A74-EA082162D80D}"/>
          </ac:spMkLst>
        </pc:spChg>
        <pc:spChg chg="mod ord">
          <ac:chgData name="McLeod, Caroline" userId="S::cmcleod@greatdentalplans.com::43031ce9-49a3-4f5f-9207-5c83a33945f8" providerId="AD" clId="Web-{CDEBCBF4-586E-ED64-1A99-D976F5981014}" dt="2021-01-21T14:00:23.869" v="549"/>
          <ac:spMkLst>
            <pc:docMk/>
            <pc:sldMk cId="1482966192" sldId="278"/>
            <ac:spMk id="5" creationId="{CF2A3635-F10F-4B50-A9D8-85AB78BA58C1}"/>
          </ac:spMkLst>
        </pc:spChg>
      </pc:sldChg>
      <pc:sldChg chg="modSp add replId">
        <pc:chgData name="McLeod, Caroline" userId="S::cmcleod@greatdentalplans.com::43031ce9-49a3-4f5f-9207-5c83a33945f8" providerId="AD" clId="Web-{CDEBCBF4-586E-ED64-1A99-D976F5981014}" dt="2021-01-21T14:00:44.354" v="580" actId="20577"/>
        <pc:sldMkLst>
          <pc:docMk/>
          <pc:sldMk cId="2119287878" sldId="279"/>
        </pc:sldMkLst>
        <pc:spChg chg="mod">
          <ac:chgData name="McLeod, Caroline" userId="S::cmcleod@greatdentalplans.com::43031ce9-49a3-4f5f-9207-5c83a33945f8" providerId="AD" clId="Web-{CDEBCBF4-586E-ED64-1A99-D976F5981014}" dt="2021-01-21T14:00:44.354" v="580" actId="20577"/>
          <ac:spMkLst>
            <pc:docMk/>
            <pc:sldMk cId="2119287878" sldId="279"/>
            <ac:spMk id="2" creationId="{C0ED1B09-A36B-4486-B16E-3AA52CB3E3A8}"/>
          </ac:spMkLst>
        </pc:spChg>
        <pc:spChg chg="mod">
          <ac:chgData name="McLeod, Caroline" userId="S::cmcleod@greatdentalplans.com::43031ce9-49a3-4f5f-9207-5c83a33945f8" providerId="AD" clId="Web-{CDEBCBF4-586E-ED64-1A99-D976F5981014}" dt="2021-01-21T14:00:40.275" v="571" actId="20577"/>
          <ac:spMkLst>
            <pc:docMk/>
            <pc:sldMk cId="2119287878" sldId="279"/>
            <ac:spMk id="4" creationId="{DDA7DCFA-6C1E-4C07-8A74-EA082162D80D}"/>
          </ac:spMkLst>
        </pc:spChg>
      </pc:sldChg>
      <pc:sldChg chg="add ord">
        <pc:chgData name="McLeod, Caroline" userId="S::cmcleod@greatdentalplans.com::43031ce9-49a3-4f5f-9207-5c83a33945f8" providerId="AD" clId="Web-{CDEBCBF4-586E-ED64-1A99-D976F5981014}" dt="2021-01-21T14:02:27.278" v="604"/>
        <pc:sldMkLst>
          <pc:docMk/>
          <pc:sldMk cId="3771027733" sldId="280"/>
        </pc:sldMkLst>
      </pc:sldChg>
      <pc:sldChg chg="add ord">
        <pc:chgData name="McLeod, Caroline" userId="S::cmcleod@greatdentalplans.com::43031ce9-49a3-4f5f-9207-5c83a33945f8" providerId="AD" clId="Web-{CDEBCBF4-586E-ED64-1A99-D976F5981014}" dt="2021-01-21T14:02:31.653" v="605"/>
        <pc:sldMkLst>
          <pc:docMk/>
          <pc:sldMk cId="3500298156" sldId="281"/>
        </pc:sldMkLst>
      </pc:sldChg>
      <pc:sldChg chg="add ord">
        <pc:chgData name="McLeod, Caroline" userId="S::cmcleod@greatdentalplans.com::43031ce9-49a3-4f5f-9207-5c83a33945f8" providerId="AD" clId="Web-{CDEBCBF4-586E-ED64-1A99-D976F5981014}" dt="2021-01-21T14:03:30.545" v="607"/>
        <pc:sldMkLst>
          <pc:docMk/>
          <pc:sldMk cId="329198466" sldId="282"/>
        </pc:sldMkLst>
      </pc:sldChg>
      <pc:sldChg chg="addSp delSp modSp new">
        <pc:chgData name="McLeod, Caroline" userId="S::cmcleod@greatdentalplans.com::43031ce9-49a3-4f5f-9207-5c83a33945f8" providerId="AD" clId="Web-{CDEBCBF4-586E-ED64-1A99-D976F5981014}" dt="2021-01-21T14:05:39.783" v="614"/>
        <pc:sldMkLst>
          <pc:docMk/>
          <pc:sldMk cId="3066448132" sldId="283"/>
        </pc:sldMkLst>
        <pc:spChg chg="del">
          <ac:chgData name="McLeod, Caroline" userId="S::cmcleod@greatdentalplans.com::43031ce9-49a3-4f5f-9207-5c83a33945f8" providerId="AD" clId="Web-{CDEBCBF4-586E-ED64-1A99-D976F5981014}" dt="2021-01-21T14:05:22.705" v="610"/>
          <ac:spMkLst>
            <pc:docMk/>
            <pc:sldMk cId="3066448132" sldId="283"/>
            <ac:spMk id="3" creationId="{8AD7B5FD-A67A-449E-AAE4-6D435A712D86}"/>
          </ac:spMkLst>
        </pc:spChg>
        <pc:picChg chg="add del mod">
          <ac:chgData name="McLeod, Caroline" userId="S::cmcleod@greatdentalplans.com::43031ce9-49a3-4f5f-9207-5c83a33945f8" providerId="AD" clId="Web-{CDEBCBF4-586E-ED64-1A99-D976F5981014}" dt="2021-01-21T14:05:39.783" v="614"/>
          <ac:picMkLst>
            <pc:docMk/>
            <pc:sldMk cId="3066448132" sldId="283"/>
            <ac:picMk id="5" creationId="{62A0C8EA-B556-412F-8415-8E83B2E71D97}"/>
          </ac:picMkLst>
        </pc:picChg>
      </pc:sldChg>
      <pc:sldChg chg="add del">
        <pc:chgData name="McLeod, Caroline" userId="S::cmcleod@greatdentalplans.com::43031ce9-49a3-4f5f-9207-5c83a33945f8" providerId="AD" clId="Web-{CDEBCBF4-586E-ED64-1A99-D976F5981014}" dt="2021-01-21T14:05:26.173" v="612"/>
        <pc:sldMkLst>
          <pc:docMk/>
          <pc:sldMk cId="3139725950" sldId="284"/>
        </pc:sldMkLst>
      </pc:sldChg>
      <pc:sldMasterChg chg="modSldLayout">
        <pc:chgData name="McLeod, Caroline" userId="S::cmcleod@greatdentalplans.com::43031ce9-49a3-4f5f-9207-5c83a33945f8" providerId="AD" clId="Web-{CDEBCBF4-586E-ED64-1A99-D976F5981014}" dt="2021-01-21T13:31:27.824" v="53"/>
        <pc:sldMasterMkLst>
          <pc:docMk/>
          <pc:sldMasterMk cId="3434583292" sldId="2147483648"/>
        </pc:sldMasterMkLst>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3105085586" sldId="2147484042"/>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855044332" sldId="2147484043"/>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2724836410" sldId="2147484044"/>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2928379178" sldId="2147484045"/>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3377171018" sldId="2147484046"/>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440533000" sldId="2147484047"/>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74013615" sldId="2147484048"/>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243879636" sldId="2147484049"/>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2757538097" sldId="2147484050"/>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4151357272" sldId="2147484051"/>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2414620619" sldId="2147484052"/>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4245620172" sldId="2147484053"/>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2274798320" sldId="2147484054"/>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1162233376" sldId="2147484055"/>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1803982126" sldId="2147484056"/>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2883340266" sldId="2147484057"/>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3454458272" sldId="2147484058"/>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4281018264" sldId="2147484059"/>
          </pc:sldLayoutMkLst>
        </pc:sldLayoutChg>
        <pc:sldLayoutChg chg="replId">
          <pc:chgData name="McLeod, Caroline" userId="S::cmcleod@greatdentalplans.com::43031ce9-49a3-4f5f-9207-5c83a33945f8" providerId="AD" clId="Web-{CDEBCBF4-586E-ED64-1A99-D976F5981014}" dt="2021-01-21T13:31:27.824" v="53"/>
          <pc:sldLayoutMkLst>
            <pc:docMk/>
            <pc:sldMasterMk cId="3434583292" sldId="2147483648"/>
            <pc:sldLayoutMk cId="3105386309" sldId="2147484060"/>
          </pc:sldLayoutMkLst>
        </pc:sldLayoutChg>
      </pc:sldMasterChg>
      <pc:sldMasterChg chg="add addSldLayout">
        <pc:chgData name="McLeod, Caroline" userId="S::cmcleod@greatdentalplans.com::43031ce9-49a3-4f5f-9207-5c83a33945f8" providerId="AD" clId="Web-{CDEBCBF4-586E-ED64-1A99-D976F5981014}" dt="2021-01-21T13:31:27.824" v="53"/>
        <pc:sldMasterMkLst>
          <pc:docMk/>
          <pc:sldMasterMk cId="565494561" sldId="2147483660"/>
        </pc:sldMasterMkLst>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1675792659" sldId="2147483661"/>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491602365" sldId="2147483662"/>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2791140849" sldId="2147483663"/>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1326244109" sldId="2147483664"/>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545450086" sldId="2147483665"/>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96808562" sldId="2147483666"/>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690900516" sldId="2147483667"/>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555113257" sldId="2147483668"/>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188720367" sldId="2147483669"/>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2755222131" sldId="2147483670"/>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2144388242" sldId="2147483671"/>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25767523" sldId="2147483672"/>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520552646" sldId="2147483673"/>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633872127" sldId="2147483674"/>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1921855016" sldId="2147483675"/>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57218999" sldId="2147483702"/>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2520676411" sldId="2147483703"/>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487749095" sldId="2147483704"/>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145145767" sldId="2147483705"/>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1663561603" sldId="2147483706"/>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329614318" sldId="2147483707"/>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4271513604" sldId="2147483708"/>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501798735" sldId="2147483709"/>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1522749501" sldId="2147483918"/>
          </pc:sldLayoutMkLst>
        </pc:sldLayoutChg>
        <pc:sldLayoutChg chg="add">
          <pc:chgData name="McLeod, Caroline" userId="S::cmcleod@greatdentalplans.com::43031ce9-49a3-4f5f-9207-5c83a33945f8" providerId="AD" clId="Web-{CDEBCBF4-586E-ED64-1A99-D976F5981014}" dt="2021-01-21T13:31:27.824" v="53"/>
          <pc:sldLayoutMkLst>
            <pc:docMk/>
            <pc:sldMasterMk cId="565494561" sldId="2147483660"/>
            <pc:sldLayoutMk cId="3731207280" sldId="2147483922"/>
          </pc:sldLayoutMkLst>
        </pc:sldLayoutChg>
      </pc:sldMasterChg>
      <pc:sldMasterChg chg="addSldLayout modSldLayout">
        <pc:chgData name="McLeod, Caroline" userId="S::cmcleod@greatdentalplans.com::43031ce9-49a3-4f5f-9207-5c83a33945f8" providerId="AD" clId="Web-{CDEBCBF4-586E-ED64-1A99-D976F5981014}" dt="2021-01-21T13:43:07.670" v="219"/>
        <pc:sldMasterMkLst>
          <pc:docMk/>
          <pc:sldMasterMk cId="106315995" sldId="2147483725"/>
        </pc:sldMasterMkLst>
        <pc:sldLayoutChg chg="add">
          <pc:chgData name="McLeod, Caroline" userId="S::cmcleod@greatdentalplans.com::43031ce9-49a3-4f5f-9207-5c83a33945f8" providerId="AD" clId="Web-{CDEBCBF4-586E-ED64-1A99-D976F5981014}" dt="2021-01-21T13:43:07.670" v="219"/>
          <pc:sldLayoutMkLst>
            <pc:docMk/>
            <pc:sldMasterMk cId="106315995" sldId="2147483725"/>
            <pc:sldLayoutMk cId="3778675390" sldId="2147483733"/>
          </pc:sldLayoutMkLst>
        </pc:sldLayoutChg>
        <pc:sldLayoutChg chg="replId">
          <pc:chgData name="McLeod, Caroline" userId="S::cmcleod@greatdentalplans.com::43031ce9-49a3-4f5f-9207-5c83a33945f8" providerId="AD" clId="Web-{CDEBCBF4-586E-ED64-1A99-D976F5981014}" dt="2021-01-21T13:43:07.670" v="219"/>
          <pc:sldLayoutMkLst>
            <pc:docMk/>
            <pc:sldMasterMk cId="106315995" sldId="2147483725"/>
            <pc:sldLayoutMk cId="1977663909" sldId="2147484061"/>
          </pc:sldLayoutMkLst>
        </pc:sldLayoutChg>
      </pc:sldMasterChg>
      <pc:sldMasterChg chg="add addSldLayout">
        <pc:chgData name="McLeod, Caroline" userId="S::cmcleod@greatdentalplans.com::43031ce9-49a3-4f5f-9207-5c83a33945f8" providerId="AD" clId="Web-{CDEBCBF4-586E-ED64-1A99-D976F5981014}" dt="2021-01-21T13:57:06.879" v="478"/>
        <pc:sldMasterMkLst>
          <pc:docMk/>
          <pc:sldMasterMk cId="1099890172" sldId="2147484118"/>
        </pc:sldMasterMkLst>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1765354316" sldId="2147484119"/>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245981661" sldId="2147484120"/>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1959197283" sldId="2147484121"/>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2752568280" sldId="2147484122"/>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424166372" sldId="2147484123"/>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4250325693" sldId="2147484124"/>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2462511638" sldId="2147484125"/>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881555155" sldId="2147484126"/>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767316020" sldId="2147484127"/>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066583140" sldId="2147484128"/>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578146421" sldId="2147484129"/>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91899428" sldId="2147484130"/>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1911581959" sldId="2147484131"/>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2785206405" sldId="2147484132"/>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2361393575" sldId="2147484133"/>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555022384" sldId="2147484134"/>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620352044" sldId="2147484135"/>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3213054795" sldId="2147484136"/>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296335999" sldId="2147484137"/>
          </pc:sldLayoutMkLst>
        </pc:sldLayoutChg>
        <pc:sldLayoutChg chg="add">
          <pc:chgData name="McLeod, Caroline" userId="S::cmcleod@greatdentalplans.com::43031ce9-49a3-4f5f-9207-5c83a33945f8" providerId="AD" clId="Web-{CDEBCBF4-586E-ED64-1A99-D976F5981014}" dt="2021-01-21T13:57:06.879" v="478"/>
          <pc:sldLayoutMkLst>
            <pc:docMk/>
            <pc:sldMasterMk cId="1099890172" sldId="2147484118"/>
            <pc:sldLayoutMk cId="1744460547" sldId="2147484138"/>
          </pc:sldLayoutMkLst>
        </pc:sldLayoutChg>
      </pc:sldMasterChg>
    </pc:docChg>
  </pc:docChgLst>
  <pc:docChgLst>
    <pc:chgData name="McLeod, Caroline" userId="S::cmcleod@greatdentalplans.com::43031ce9-49a3-4f5f-9207-5c83a33945f8" providerId="AD" clId="Web-{D83D5FA2-D89D-0006-4E22-455E24F7D700}"/>
    <pc:docChg chg="addSld modSld">
      <pc:chgData name="McLeod, Caroline" userId="S::cmcleod@greatdentalplans.com::43031ce9-49a3-4f5f-9207-5c83a33945f8" providerId="AD" clId="Web-{D83D5FA2-D89D-0006-4E22-455E24F7D700}" dt="2021-02-02T19:28:41.445" v="11" actId="20577"/>
      <pc:docMkLst>
        <pc:docMk/>
      </pc:docMkLst>
      <pc:sldChg chg="modSp add replId">
        <pc:chgData name="McLeod, Caroline" userId="S::cmcleod@greatdentalplans.com::43031ce9-49a3-4f5f-9207-5c83a33945f8" providerId="AD" clId="Web-{D83D5FA2-D89D-0006-4E22-455E24F7D700}" dt="2021-02-02T19:28:41.445" v="11" actId="20577"/>
        <pc:sldMkLst>
          <pc:docMk/>
          <pc:sldMk cId="3127225944" sldId="292"/>
        </pc:sldMkLst>
        <pc:spChg chg="mod">
          <ac:chgData name="McLeod, Caroline" userId="S::cmcleod@greatdentalplans.com::43031ce9-49a3-4f5f-9207-5c83a33945f8" providerId="AD" clId="Web-{D83D5FA2-D89D-0006-4E22-455E24F7D700}" dt="2021-02-02T19:28:41.445" v="11" actId="20577"/>
          <ac:spMkLst>
            <pc:docMk/>
            <pc:sldMk cId="3127225944" sldId="292"/>
            <ac:spMk id="2" creationId="{C0ED1B09-A36B-4486-B16E-3AA52CB3E3A8}"/>
          </ac:spMkLst>
        </pc:spChg>
        <pc:spChg chg="mod">
          <ac:chgData name="McLeod, Caroline" userId="S::cmcleod@greatdentalplans.com::43031ce9-49a3-4f5f-9207-5c83a33945f8" providerId="AD" clId="Web-{D83D5FA2-D89D-0006-4E22-455E24F7D700}" dt="2021-02-02T19:28:35.070" v="10" actId="20577"/>
          <ac:spMkLst>
            <pc:docMk/>
            <pc:sldMk cId="3127225944" sldId="292"/>
            <ac:spMk id="4" creationId="{DDA7DCFA-6C1E-4C07-8A74-EA082162D80D}"/>
          </ac:spMkLst>
        </pc:spChg>
      </pc:sldChg>
    </pc:docChg>
  </pc:docChgLst>
  <pc:docChgLst>
    <pc:chgData name="McLeod, Caroline" userId="S::cmcleod@greatdentalplans.com::43031ce9-49a3-4f5f-9207-5c83a33945f8" providerId="AD" clId="Web-{7B08735C-A359-D648-D165-0AD5F4632FA5}"/>
    <pc:docChg chg="modSld">
      <pc:chgData name="McLeod, Caroline" userId="S::cmcleod@greatdentalplans.com::43031ce9-49a3-4f5f-9207-5c83a33945f8" providerId="AD" clId="Web-{7B08735C-A359-D648-D165-0AD5F4632FA5}" dt="2021-01-27T19:04:34.206" v="64" actId="20577"/>
      <pc:docMkLst>
        <pc:docMk/>
      </pc:docMkLst>
      <pc:sldChg chg="modSp">
        <pc:chgData name="McLeod, Caroline" userId="S::cmcleod@greatdentalplans.com::43031ce9-49a3-4f5f-9207-5c83a33945f8" providerId="AD" clId="Web-{7B08735C-A359-D648-D165-0AD5F4632FA5}" dt="2021-01-27T19:04:34.206" v="64" actId="20577"/>
        <pc:sldMkLst>
          <pc:docMk/>
          <pc:sldMk cId="705864357" sldId="260"/>
        </pc:sldMkLst>
        <pc:spChg chg="mod">
          <ac:chgData name="McLeod, Caroline" userId="S::cmcleod@greatdentalplans.com::43031ce9-49a3-4f5f-9207-5c83a33945f8" providerId="AD" clId="Web-{7B08735C-A359-D648-D165-0AD5F4632FA5}" dt="2021-01-27T19:04:34.206" v="64" actId="20577"/>
          <ac:spMkLst>
            <pc:docMk/>
            <pc:sldMk cId="705864357" sldId="260"/>
            <ac:spMk id="13" creationId="{60210121-CE4D-4277-8047-FD5B4616349C}"/>
          </ac:spMkLst>
        </pc:spChg>
      </pc:sldChg>
    </pc:docChg>
  </pc:docChgLst>
  <pc:docChgLst>
    <pc:chgData name="McLeod, Caroline" userId="43031ce9-49a3-4f5f-9207-5c83a33945f8" providerId="ADAL" clId="{1AB080F6-174F-49E1-A836-8B3925D1540E}"/>
    <pc:docChg chg="undo custSel addSld modSld">
      <pc:chgData name="McLeod, Caroline" userId="43031ce9-49a3-4f5f-9207-5c83a33945f8" providerId="ADAL" clId="{1AB080F6-174F-49E1-A836-8B3925D1540E}" dt="2021-02-10T15:44:55.137" v="5166" actId="14100"/>
      <pc:docMkLst>
        <pc:docMk/>
      </pc:docMkLst>
      <pc:sldChg chg="modSp mod">
        <pc:chgData name="McLeod, Caroline" userId="43031ce9-49a3-4f5f-9207-5c83a33945f8" providerId="ADAL" clId="{1AB080F6-174F-49E1-A836-8B3925D1540E}" dt="2021-02-05T17:36:19.675" v="72" actId="20577"/>
        <pc:sldMkLst>
          <pc:docMk/>
          <pc:sldMk cId="154359010" sldId="258"/>
        </pc:sldMkLst>
        <pc:spChg chg="mod">
          <ac:chgData name="McLeod, Caroline" userId="43031ce9-49a3-4f5f-9207-5c83a33945f8" providerId="ADAL" clId="{1AB080F6-174F-49E1-A836-8B3925D1540E}" dt="2021-02-05T17:35:45.601" v="57" actId="113"/>
          <ac:spMkLst>
            <pc:docMk/>
            <pc:sldMk cId="154359010" sldId="258"/>
            <ac:spMk id="2" creationId="{D62319BB-625B-4082-931E-38D112869772}"/>
          </ac:spMkLst>
        </pc:spChg>
        <pc:spChg chg="mod">
          <ac:chgData name="McLeod, Caroline" userId="43031ce9-49a3-4f5f-9207-5c83a33945f8" providerId="ADAL" clId="{1AB080F6-174F-49E1-A836-8B3925D1540E}" dt="2021-02-05T17:36:19.675" v="72" actId="20577"/>
          <ac:spMkLst>
            <pc:docMk/>
            <pc:sldMk cId="154359010" sldId="258"/>
            <ac:spMk id="3" creationId="{FBDDE163-28C2-4B83-9887-390F7EEA2991}"/>
          </ac:spMkLst>
        </pc:spChg>
      </pc:sldChg>
      <pc:sldChg chg="modSp mod">
        <pc:chgData name="McLeod, Caroline" userId="43031ce9-49a3-4f5f-9207-5c83a33945f8" providerId="ADAL" clId="{1AB080F6-174F-49E1-A836-8B3925D1540E}" dt="2021-02-10T15:44:55.137" v="5166" actId="14100"/>
        <pc:sldMkLst>
          <pc:docMk/>
          <pc:sldMk cId="705864357" sldId="260"/>
        </pc:sldMkLst>
        <pc:spChg chg="mod">
          <ac:chgData name="McLeod, Caroline" userId="43031ce9-49a3-4f5f-9207-5c83a33945f8" providerId="ADAL" clId="{1AB080F6-174F-49E1-A836-8B3925D1540E}" dt="2021-02-10T15:44:33.974" v="5164" actId="313"/>
          <ac:spMkLst>
            <pc:docMk/>
            <pc:sldMk cId="705864357" sldId="260"/>
            <ac:spMk id="13" creationId="{60210121-CE4D-4277-8047-FD5B4616349C}"/>
          </ac:spMkLst>
        </pc:spChg>
        <pc:spChg chg="mod">
          <ac:chgData name="McLeod, Caroline" userId="43031ce9-49a3-4f5f-9207-5c83a33945f8" providerId="ADAL" clId="{1AB080F6-174F-49E1-A836-8B3925D1540E}" dt="2021-02-10T15:44:55.137" v="5166" actId="14100"/>
          <ac:spMkLst>
            <pc:docMk/>
            <pc:sldMk cId="705864357" sldId="260"/>
            <ac:spMk id="15" creationId="{D0E98AA7-AC2A-4A65-8741-35FCE6D15EC0}"/>
          </ac:spMkLst>
        </pc:spChg>
      </pc:sldChg>
      <pc:sldChg chg="modNotesTx">
        <pc:chgData name="McLeod, Caroline" userId="43031ce9-49a3-4f5f-9207-5c83a33945f8" providerId="ADAL" clId="{1AB080F6-174F-49E1-A836-8B3925D1540E}" dt="2021-02-09T20:04:19.521" v="4841" actId="20577"/>
        <pc:sldMkLst>
          <pc:docMk/>
          <pc:sldMk cId="3355587186" sldId="263"/>
        </pc:sldMkLst>
      </pc:sldChg>
      <pc:sldChg chg="modNotesTx">
        <pc:chgData name="McLeod, Caroline" userId="43031ce9-49a3-4f5f-9207-5c83a33945f8" providerId="ADAL" clId="{1AB080F6-174F-49E1-A836-8B3925D1540E}" dt="2021-02-05T17:44:07.699" v="269" actId="20577"/>
        <pc:sldMkLst>
          <pc:docMk/>
          <pc:sldMk cId="2209671935" sldId="264"/>
        </pc:sldMkLst>
      </pc:sldChg>
      <pc:sldChg chg="modTransition modNotesTx">
        <pc:chgData name="McLeod, Caroline" userId="43031ce9-49a3-4f5f-9207-5c83a33945f8" providerId="ADAL" clId="{1AB080F6-174F-49E1-A836-8B3925D1540E}" dt="2021-02-08T21:15:37.425" v="4594"/>
        <pc:sldMkLst>
          <pc:docMk/>
          <pc:sldMk cId="3915446189" sldId="266"/>
        </pc:sldMkLst>
      </pc:sldChg>
      <pc:sldChg chg="addSp modSp modNotesTx">
        <pc:chgData name="McLeod, Caroline" userId="43031ce9-49a3-4f5f-9207-5c83a33945f8" providerId="ADAL" clId="{1AB080F6-174F-49E1-A836-8B3925D1540E}" dt="2021-02-08T20:40:08.460" v="2264" actId="20577"/>
        <pc:sldMkLst>
          <pc:docMk/>
          <pc:sldMk cId="439320483" sldId="267"/>
        </pc:sldMkLst>
        <pc:spChg chg="mod">
          <ac:chgData name="McLeod, Caroline" userId="43031ce9-49a3-4f5f-9207-5c83a33945f8" providerId="ADAL" clId="{1AB080F6-174F-49E1-A836-8B3925D1540E}" dt="2021-02-05T17:47:46.995" v="445"/>
          <ac:spMkLst>
            <pc:docMk/>
            <pc:sldMk cId="439320483" sldId="267"/>
            <ac:spMk id="4" creationId="{B76E320B-9C32-4448-8634-4298F6E59C54}"/>
          </ac:spMkLst>
        </pc:spChg>
        <pc:picChg chg="add mod">
          <ac:chgData name="McLeod, Caroline" userId="43031ce9-49a3-4f5f-9207-5c83a33945f8" providerId="ADAL" clId="{1AB080F6-174F-49E1-A836-8B3925D1540E}" dt="2021-02-05T17:48:02.432" v="453" actId="1037"/>
          <ac:picMkLst>
            <pc:docMk/>
            <pc:sldMk cId="439320483" sldId="267"/>
            <ac:picMk id="2050" creationId="{7F045A4B-21D0-4A68-880B-E64C6D6FC9C4}"/>
          </ac:picMkLst>
        </pc:picChg>
      </pc:sldChg>
      <pc:sldChg chg="modSp mod modTransition">
        <pc:chgData name="McLeod, Caroline" userId="43031ce9-49a3-4f5f-9207-5c83a33945f8" providerId="ADAL" clId="{1AB080F6-174F-49E1-A836-8B3925D1540E}" dt="2021-02-08T21:15:49.332" v="4597"/>
        <pc:sldMkLst>
          <pc:docMk/>
          <pc:sldMk cId="2764848591" sldId="269"/>
        </pc:sldMkLst>
        <pc:spChg chg="mod">
          <ac:chgData name="McLeod, Caroline" userId="43031ce9-49a3-4f5f-9207-5c83a33945f8" providerId="ADAL" clId="{1AB080F6-174F-49E1-A836-8B3925D1540E}" dt="2021-02-05T18:20:36.063" v="1962" actId="1076"/>
          <ac:spMkLst>
            <pc:docMk/>
            <pc:sldMk cId="2764848591" sldId="269"/>
            <ac:spMk id="5" creationId="{3FECFEBA-9D4F-4EAC-AABC-51449A1DBB36}"/>
          </ac:spMkLst>
        </pc:spChg>
      </pc:sldChg>
      <pc:sldChg chg="modTransition">
        <pc:chgData name="McLeod, Caroline" userId="43031ce9-49a3-4f5f-9207-5c83a33945f8" providerId="ADAL" clId="{1AB080F6-174F-49E1-A836-8B3925D1540E}" dt="2021-02-08T21:15:48.010" v="4596"/>
        <pc:sldMkLst>
          <pc:docMk/>
          <pc:sldMk cId="3729678054" sldId="270"/>
        </pc:sldMkLst>
      </pc:sldChg>
      <pc:sldChg chg="modTransition modNotesTx">
        <pc:chgData name="McLeod, Caroline" userId="43031ce9-49a3-4f5f-9207-5c83a33945f8" providerId="ADAL" clId="{1AB080F6-174F-49E1-A836-8B3925D1540E}" dt="2021-02-09T20:06:32.523" v="4954" actId="20577"/>
        <pc:sldMkLst>
          <pc:docMk/>
          <pc:sldMk cId="1374640660" sldId="271"/>
        </pc:sldMkLst>
      </pc:sldChg>
      <pc:sldChg chg="modNotesTx">
        <pc:chgData name="McLeod, Caroline" userId="43031ce9-49a3-4f5f-9207-5c83a33945f8" providerId="ADAL" clId="{1AB080F6-174F-49E1-A836-8B3925D1540E}" dt="2021-02-05T17:34:46.016" v="0" actId="20577"/>
        <pc:sldMkLst>
          <pc:docMk/>
          <pc:sldMk cId="696052771" sldId="272"/>
        </pc:sldMkLst>
      </pc:sldChg>
      <pc:sldChg chg="addSp delSp modSp mod delAnim modAnim addCm delCm modCm modNotesTx">
        <pc:chgData name="McLeod, Caroline" userId="43031ce9-49a3-4f5f-9207-5c83a33945f8" providerId="ADAL" clId="{1AB080F6-174F-49E1-A836-8B3925D1540E}" dt="2021-02-10T13:57:14.089" v="5160" actId="20577"/>
        <pc:sldMkLst>
          <pc:docMk/>
          <pc:sldMk cId="3578281583" sldId="273"/>
        </pc:sldMkLst>
        <pc:spChg chg="del">
          <ac:chgData name="McLeod, Caroline" userId="43031ce9-49a3-4f5f-9207-5c83a33945f8" providerId="ADAL" clId="{1AB080F6-174F-49E1-A836-8B3925D1540E}" dt="2021-02-05T17:54:17.972" v="771" actId="478"/>
          <ac:spMkLst>
            <pc:docMk/>
            <pc:sldMk cId="3578281583" sldId="273"/>
            <ac:spMk id="7" creationId="{71E99223-A065-4690-B96C-81FE0EDF3AFD}"/>
          </ac:spMkLst>
        </pc:spChg>
        <pc:spChg chg="mod">
          <ac:chgData name="McLeod, Caroline" userId="43031ce9-49a3-4f5f-9207-5c83a33945f8" providerId="ADAL" clId="{1AB080F6-174F-49E1-A836-8B3925D1540E}" dt="2021-02-05T17:55:15.790" v="775" actId="1076"/>
          <ac:spMkLst>
            <pc:docMk/>
            <pc:sldMk cId="3578281583" sldId="273"/>
            <ac:spMk id="11" creationId="{2C7C828B-D372-4F5A-BC81-6EFB63B31F33}"/>
          </ac:spMkLst>
        </pc:spChg>
        <pc:spChg chg="del">
          <ac:chgData name="McLeod, Caroline" userId="43031ce9-49a3-4f5f-9207-5c83a33945f8" providerId="ADAL" clId="{1AB080F6-174F-49E1-A836-8B3925D1540E}" dt="2021-02-05T17:54:13.519" v="769" actId="478"/>
          <ac:spMkLst>
            <pc:docMk/>
            <pc:sldMk cId="3578281583" sldId="273"/>
            <ac:spMk id="12" creationId="{13A21C6E-95D2-4A80-9D86-E72DE5DF1DCC}"/>
          </ac:spMkLst>
        </pc:spChg>
        <pc:spChg chg="del">
          <ac:chgData name="McLeod, Caroline" userId="43031ce9-49a3-4f5f-9207-5c83a33945f8" providerId="ADAL" clId="{1AB080F6-174F-49E1-A836-8B3925D1540E}" dt="2021-02-05T17:54:13.519" v="769" actId="478"/>
          <ac:spMkLst>
            <pc:docMk/>
            <pc:sldMk cId="3578281583" sldId="273"/>
            <ac:spMk id="13" creationId="{529BB0ED-8A29-4667-9D53-D0708A4E42E8}"/>
          </ac:spMkLst>
        </pc:spChg>
        <pc:spChg chg="del">
          <ac:chgData name="McLeod, Caroline" userId="43031ce9-49a3-4f5f-9207-5c83a33945f8" providerId="ADAL" clId="{1AB080F6-174F-49E1-A836-8B3925D1540E}" dt="2021-02-05T17:54:13.519" v="769" actId="478"/>
          <ac:spMkLst>
            <pc:docMk/>
            <pc:sldMk cId="3578281583" sldId="273"/>
            <ac:spMk id="14" creationId="{2AF95A4B-97C5-4D50-B641-57B3552E9029}"/>
          </ac:spMkLst>
        </pc:spChg>
        <pc:spChg chg="del">
          <ac:chgData name="McLeod, Caroline" userId="43031ce9-49a3-4f5f-9207-5c83a33945f8" providerId="ADAL" clId="{1AB080F6-174F-49E1-A836-8B3925D1540E}" dt="2021-02-05T17:54:15.056" v="770" actId="478"/>
          <ac:spMkLst>
            <pc:docMk/>
            <pc:sldMk cId="3578281583" sldId="273"/>
            <ac:spMk id="22" creationId="{88657DEF-EF0A-483D-AA86-1E659508783A}"/>
          </ac:spMkLst>
        </pc:spChg>
        <pc:picChg chg="add mod">
          <ac:chgData name="McLeod, Caroline" userId="43031ce9-49a3-4f5f-9207-5c83a33945f8" providerId="ADAL" clId="{1AB080F6-174F-49E1-A836-8B3925D1540E}" dt="2021-02-06T14:15:29.492" v="2199" actId="1038"/>
          <ac:picMkLst>
            <pc:docMk/>
            <pc:sldMk cId="3578281583" sldId="273"/>
            <ac:picMk id="7" creationId="{2337594F-24D0-445A-90E4-D8436E73B301}"/>
          </ac:picMkLst>
        </pc:picChg>
        <pc:picChg chg="add del mod">
          <ac:chgData name="McLeod, Caroline" userId="43031ce9-49a3-4f5f-9207-5c83a33945f8" providerId="ADAL" clId="{1AB080F6-174F-49E1-A836-8B3925D1540E}" dt="2021-02-06T14:14:31.776" v="2184" actId="478"/>
          <ac:picMkLst>
            <pc:docMk/>
            <pc:sldMk cId="3578281583" sldId="273"/>
            <ac:picMk id="15" creationId="{D225C70B-A391-4E23-9434-A2F71EA283F6}"/>
          </ac:picMkLst>
        </pc:picChg>
        <pc:picChg chg="del mod">
          <ac:chgData name="McLeod, Caroline" userId="43031ce9-49a3-4f5f-9207-5c83a33945f8" providerId="ADAL" clId="{1AB080F6-174F-49E1-A836-8B3925D1540E}" dt="2021-02-05T17:59:35.373" v="1007" actId="478"/>
          <ac:picMkLst>
            <pc:docMk/>
            <pc:sldMk cId="3578281583" sldId="273"/>
            <ac:picMk id="21" creationId="{23926D39-5B2D-4B8F-9D3D-14084EA31225}"/>
          </ac:picMkLst>
        </pc:picChg>
        <pc:cxnChg chg="mod">
          <ac:chgData name="McLeod, Caroline" userId="43031ce9-49a3-4f5f-9207-5c83a33945f8" providerId="ADAL" clId="{1AB080F6-174F-49E1-A836-8B3925D1540E}" dt="2021-02-05T17:55:15.790" v="775" actId="1076"/>
          <ac:cxnSpMkLst>
            <pc:docMk/>
            <pc:sldMk cId="3578281583" sldId="273"/>
            <ac:cxnSpMk id="28" creationId="{56180A23-A740-4683-94DC-052BE1A5A3E8}"/>
          </ac:cxnSpMkLst>
        </pc:cxnChg>
        <pc:cxnChg chg="del">
          <ac:chgData name="McLeod, Caroline" userId="43031ce9-49a3-4f5f-9207-5c83a33945f8" providerId="ADAL" clId="{1AB080F6-174F-49E1-A836-8B3925D1540E}" dt="2021-02-05T17:54:13.519" v="769" actId="478"/>
          <ac:cxnSpMkLst>
            <pc:docMk/>
            <pc:sldMk cId="3578281583" sldId="273"/>
            <ac:cxnSpMk id="30" creationId="{85367D22-2377-4D04-86C2-E9733D8D5859}"/>
          </ac:cxnSpMkLst>
        </pc:cxnChg>
        <pc:cxnChg chg="del">
          <ac:chgData name="McLeod, Caroline" userId="43031ce9-49a3-4f5f-9207-5c83a33945f8" providerId="ADAL" clId="{1AB080F6-174F-49E1-A836-8B3925D1540E}" dt="2021-02-05T17:54:13.519" v="769" actId="478"/>
          <ac:cxnSpMkLst>
            <pc:docMk/>
            <pc:sldMk cId="3578281583" sldId="273"/>
            <ac:cxnSpMk id="31" creationId="{8C4C2D64-1B78-4783-B8B3-3F0F7116EC01}"/>
          </ac:cxnSpMkLst>
        </pc:cxnChg>
      </pc:sldChg>
      <pc:sldChg chg="modAnim modNotesTx">
        <pc:chgData name="McLeod, Caroline" userId="43031ce9-49a3-4f5f-9207-5c83a33945f8" providerId="ADAL" clId="{1AB080F6-174F-49E1-A836-8B3925D1540E}" dt="2021-02-08T21:10:01.600" v="4456" actId="20577"/>
        <pc:sldMkLst>
          <pc:docMk/>
          <pc:sldMk cId="3725104515" sldId="275"/>
        </pc:sldMkLst>
      </pc:sldChg>
      <pc:sldChg chg="delCm">
        <pc:chgData name="McLeod, Caroline" userId="43031ce9-49a3-4f5f-9207-5c83a33945f8" providerId="ADAL" clId="{1AB080F6-174F-49E1-A836-8B3925D1540E}" dt="2021-02-10T13:57:38.696" v="5161" actId="1592"/>
        <pc:sldMkLst>
          <pc:docMk/>
          <pc:sldMk cId="1279239907" sldId="276"/>
        </pc:sldMkLst>
      </pc:sldChg>
      <pc:sldChg chg="modTransition">
        <pc:chgData name="McLeod, Caroline" userId="43031ce9-49a3-4f5f-9207-5c83a33945f8" providerId="ADAL" clId="{1AB080F6-174F-49E1-A836-8B3925D1540E}" dt="2021-02-08T21:15:52.923" v="4599"/>
        <pc:sldMkLst>
          <pc:docMk/>
          <pc:sldMk cId="3771027733" sldId="280"/>
        </pc:sldMkLst>
      </pc:sldChg>
      <pc:sldChg chg="modTransition modNotesTx">
        <pc:chgData name="McLeod, Caroline" userId="43031ce9-49a3-4f5f-9207-5c83a33945f8" providerId="ADAL" clId="{1AB080F6-174F-49E1-A836-8B3925D1540E}" dt="2021-02-09T20:10:19.822" v="5067" actId="20577"/>
        <pc:sldMkLst>
          <pc:docMk/>
          <pc:sldMk cId="3500298156" sldId="281"/>
        </pc:sldMkLst>
      </pc:sldChg>
      <pc:sldChg chg="modTransition">
        <pc:chgData name="McLeod, Caroline" userId="43031ce9-49a3-4f5f-9207-5c83a33945f8" providerId="ADAL" clId="{1AB080F6-174F-49E1-A836-8B3925D1540E}" dt="2021-02-08T21:16:00.953" v="4602"/>
        <pc:sldMkLst>
          <pc:docMk/>
          <pc:sldMk cId="1833185731" sldId="284"/>
        </pc:sldMkLst>
      </pc:sldChg>
      <pc:sldChg chg="modTransition">
        <pc:chgData name="McLeod, Caroline" userId="43031ce9-49a3-4f5f-9207-5c83a33945f8" providerId="ADAL" clId="{1AB080F6-174F-49E1-A836-8B3925D1540E}" dt="2021-02-08T21:15:58.332" v="4601"/>
        <pc:sldMkLst>
          <pc:docMk/>
          <pc:sldMk cId="3183828744" sldId="285"/>
        </pc:sldMkLst>
      </pc:sldChg>
      <pc:sldChg chg="modTransition">
        <pc:chgData name="McLeod, Caroline" userId="43031ce9-49a3-4f5f-9207-5c83a33945f8" providerId="ADAL" clId="{1AB080F6-174F-49E1-A836-8B3925D1540E}" dt="2021-02-08T21:16:02.489" v="4603"/>
        <pc:sldMkLst>
          <pc:docMk/>
          <pc:sldMk cId="3547692669" sldId="286"/>
        </pc:sldMkLst>
      </pc:sldChg>
      <pc:sldChg chg="modTransition">
        <pc:chgData name="McLeod, Caroline" userId="43031ce9-49a3-4f5f-9207-5c83a33945f8" providerId="ADAL" clId="{1AB080F6-174F-49E1-A836-8B3925D1540E}" dt="2021-02-08T21:15:56.697" v="4600"/>
        <pc:sldMkLst>
          <pc:docMk/>
          <pc:sldMk cId="675873844" sldId="287"/>
        </pc:sldMkLst>
      </pc:sldChg>
      <pc:sldChg chg="modTransition">
        <pc:chgData name="McLeod, Caroline" userId="43031ce9-49a3-4f5f-9207-5c83a33945f8" providerId="ADAL" clId="{1AB080F6-174F-49E1-A836-8B3925D1540E}" dt="2021-02-08T21:16:16.998" v="4604"/>
        <pc:sldMkLst>
          <pc:docMk/>
          <pc:sldMk cId="2575292049" sldId="288"/>
        </pc:sldMkLst>
      </pc:sldChg>
      <pc:sldChg chg="addSp delSp modSp mod modAnim delCm modCm modNotesTx">
        <pc:chgData name="McLeod, Caroline" userId="43031ce9-49a3-4f5f-9207-5c83a33945f8" providerId="ADAL" clId="{1AB080F6-174F-49E1-A836-8B3925D1540E}" dt="2021-02-08T21:00:48.729" v="3388" actId="20577"/>
        <pc:sldMkLst>
          <pc:docMk/>
          <pc:sldMk cId="1549554839" sldId="289"/>
        </pc:sldMkLst>
        <pc:spChg chg="add del mod">
          <ac:chgData name="McLeod, Caroline" userId="43031ce9-49a3-4f5f-9207-5c83a33945f8" providerId="ADAL" clId="{1AB080F6-174F-49E1-A836-8B3925D1540E}" dt="2021-02-06T14:16:23.874" v="2205" actId="478"/>
          <ac:spMkLst>
            <pc:docMk/>
            <pc:sldMk cId="1549554839" sldId="289"/>
            <ac:spMk id="9" creationId="{758B1602-F8B0-4A0C-A3A5-CD49ABF281BE}"/>
          </ac:spMkLst>
        </pc:spChg>
        <pc:picChg chg="del">
          <ac:chgData name="McLeod, Caroline" userId="43031ce9-49a3-4f5f-9207-5c83a33945f8" providerId="ADAL" clId="{1AB080F6-174F-49E1-A836-8B3925D1540E}" dt="2021-02-06T14:16:21.456" v="2204" actId="478"/>
          <ac:picMkLst>
            <pc:docMk/>
            <pc:sldMk cId="1549554839" sldId="289"/>
            <ac:picMk id="8" creationId="{92362D16-C4D3-42D3-9C88-1D3B4ECF66BA}"/>
          </ac:picMkLst>
        </pc:picChg>
        <pc:picChg chg="add mod modCrop">
          <ac:chgData name="McLeod, Caroline" userId="43031ce9-49a3-4f5f-9207-5c83a33945f8" providerId="ADAL" clId="{1AB080F6-174F-49E1-A836-8B3925D1540E}" dt="2021-02-06T14:16:38.658" v="2221" actId="1036"/>
          <ac:picMkLst>
            <pc:docMk/>
            <pc:sldMk cId="1549554839" sldId="289"/>
            <ac:picMk id="29" creationId="{43025738-0BAF-4C27-9ADA-33520293595A}"/>
          </ac:picMkLst>
        </pc:picChg>
      </pc:sldChg>
      <pc:sldChg chg="addCm modCm">
        <pc:chgData name="McLeod, Caroline" userId="43031ce9-49a3-4f5f-9207-5c83a33945f8" providerId="ADAL" clId="{1AB080F6-174F-49E1-A836-8B3925D1540E}" dt="2021-02-05T18:22:22.664" v="2060"/>
        <pc:sldMkLst>
          <pc:docMk/>
          <pc:sldMk cId="2432183697" sldId="291"/>
        </pc:sldMkLst>
      </pc:sldChg>
      <pc:sldChg chg="modNotesTx">
        <pc:chgData name="McLeod, Caroline" userId="43031ce9-49a3-4f5f-9207-5c83a33945f8" providerId="ADAL" clId="{1AB080F6-174F-49E1-A836-8B3925D1540E}" dt="2021-02-05T17:51:44.756" v="566" actId="313"/>
        <pc:sldMkLst>
          <pc:docMk/>
          <pc:sldMk cId="2359732605" sldId="293"/>
        </pc:sldMkLst>
      </pc:sldChg>
      <pc:sldChg chg="addSp delSp modSp mod delAnim modAnim delCm modNotesTx">
        <pc:chgData name="McLeod, Caroline" userId="43031ce9-49a3-4f5f-9207-5c83a33945f8" providerId="ADAL" clId="{1AB080F6-174F-49E1-A836-8B3925D1540E}" dt="2021-02-06T14:17:49.619" v="2231" actId="1592"/>
        <pc:sldMkLst>
          <pc:docMk/>
          <pc:sldMk cId="1032135914" sldId="294"/>
        </pc:sldMkLst>
        <pc:spChg chg="add del mod">
          <ac:chgData name="McLeod, Caroline" userId="43031ce9-49a3-4f5f-9207-5c83a33945f8" providerId="ADAL" clId="{1AB080F6-174F-49E1-A836-8B3925D1540E}" dt="2021-02-06T14:17:18.260" v="2226" actId="478"/>
          <ac:spMkLst>
            <pc:docMk/>
            <pc:sldMk cId="1032135914" sldId="294"/>
            <ac:spMk id="3" creationId="{32E69D62-87C3-4DA2-9765-5C98402B275C}"/>
          </ac:spMkLst>
        </pc:spChg>
        <pc:spChg chg="add del mod">
          <ac:chgData name="McLeod, Caroline" userId="43031ce9-49a3-4f5f-9207-5c83a33945f8" providerId="ADAL" clId="{1AB080F6-174F-49E1-A836-8B3925D1540E}" dt="2021-02-05T18:12:17.440" v="1819" actId="478"/>
          <ac:spMkLst>
            <pc:docMk/>
            <pc:sldMk cId="1032135914" sldId="294"/>
            <ac:spMk id="5" creationId="{3BCCE278-EEC5-490D-B9BD-C0167B439130}"/>
          </ac:spMkLst>
        </pc:spChg>
        <pc:spChg chg="del">
          <ac:chgData name="McLeod, Caroline" userId="43031ce9-49a3-4f5f-9207-5c83a33945f8" providerId="ADAL" clId="{1AB080F6-174F-49E1-A836-8B3925D1540E}" dt="2021-02-05T18:11:43.500" v="1816" actId="478"/>
          <ac:spMkLst>
            <pc:docMk/>
            <pc:sldMk cId="1032135914" sldId="294"/>
            <ac:spMk id="10" creationId="{B12981A8-AE90-4116-AB07-D5BEB5F8B50E}"/>
          </ac:spMkLst>
        </pc:spChg>
        <pc:spChg chg="del">
          <ac:chgData name="McLeod, Caroline" userId="43031ce9-49a3-4f5f-9207-5c83a33945f8" providerId="ADAL" clId="{1AB080F6-174F-49E1-A836-8B3925D1540E}" dt="2021-02-05T18:11:43.500" v="1816" actId="478"/>
          <ac:spMkLst>
            <pc:docMk/>
            <pc:sldMk cId="1032135914" sldId="294"/>
            <ac:spMk id="24" creationId="{DD6CC340-1E77-45B3-A842-18F73163ADA9}"/>
          </ac:spMkLst>
        </pc:spChg>
        <pc:spChg chg="del">
          <ac:chgData name="McLeod, Caroline" userId="43031ce9-49a3-4f5f-9207-5c83a33945f8" providerId="ADAL" clId="{1AB080F6-174F-49E1-A836-8B3925D1540E}" dt="2021-02-05T18:11:43.500" v="1816" actId="478"/>
          <ac:spMkLst>
            <pc:docMk/>
            <pc:sldMk cId="1032135914" sldId="294"/>
            <ac:spMk id="25" creationId="{8CC2E127-6443-45BB-80BC-0D25D50F7519}"/>
          </ac:spMkLst>
        </pc:spChg>
        <pc:spChg chg="del">
          <ac:chgData name="McLeod, Caroline" userId="43031ce9-49a3-4f5f-9207-5c83a33945f8" providerId="ADAL" clId="{1AB080F6-174F-49E1-A836-8B3925D1540E}" dt="2021-02-05T18:11:43.500" v="1816" actId="478"/>
          <ac:spMkLst>
            <pc:docMk/>
            <pc:sldMk cId="1032135914" sldId="294"/>
            <ac:spMk id="26" creationId="{29833A2B-1520-45EB-B0B7-9D2B8E5ADB47}"/>
          </ac:spMkLst>
        </pc:spChg>
        <pc:spChg chg="del">
          <ac:chgData name="McLeod, Caroline" userId="43031ce9-49a3-4f5f-9207-5c83a33945f8" providerId="ADAL" clId="{1AB080F6-174F-49E1-A836-8B3925D1540E}" dt="2021-02-05T18:11:43.500" v="1816" actId="478"/>
          <ac:spMkLst>
            <pc:docMk/>
            <pc:sldMk cId="1032135914" sldId="294"/>
            <ac:spMk id="27" creationId="{5F1328BC-8D9C-45BE-B2BD-A97924A63A6D}"/>
          </ac:spMkLst>
        </pc:spChg>
        <pc:picChg chg="del">
          <ac:chgData name="McLeod, Caroline" userId="43031ce9-49a3-4f5f-9207-5c83a33945f8" providerId="ADAL" clId="{1AB080F6-174F-49E1-A836-8B3925D1540E}" dt="2021-02-05T18:12:12.987" v="1818" actId="478"/>
          <ac:picMkLst>
            <pc:docMk/>
            <pc:sldMk cId="1032135914" sldId="294"/>
            <ac:picMk id="3" creationId="{54179603-F4A2-4125-8990-8EDFCBF4E291}"/>
          </ac:picMkLst>
        </pc:picChg>
        <pc:picChg chg="add del mod">
          <ac:chgData name="McLeod, Caroline" userId="43031ce9-49a3-4f5f-9207-5c83a33945f8" providerId="ADAL" clId="{1AB080F6-174F-49E1-A836-8B3925D1540E}" dt="2021-02-06T14:17:33.537" v="2229" actId="478"/>
          <ac:picMkLst>
            <pc:docMk/>
            <pc:sldMk cId="1032135914" sldId="294"/>
            <ac:picMk id="24" creationId="{5F247B14-E489-4904-AB28-48498700E5C6}"/>
          </ac:picMkLst>
        </pc:picChg>
        <pc:picChg chg="add mod">
          <ac:chgData name="McLeod, Caroline" userId="43031ce9-49a3-4f5f-9207-5c83a33945f8" providerId="ADAL" clId="{1AB080F6-174F-49E1-A836-8B3925D1540E}" dt="2021-02-06T14:17:34.271" v="2230"/>
          <ac:picMkLst>
            <pc:docMk/>
            <pc:sldMk cId="1032135914" sldId="294"/>
            <ac:picMk id="25" creationId="{2AE3116B-3B44-4C0C-8672-DE568CD608FB}"/>
          </ac:picMkLst>
        </pc:picChg>
        <pc:picChg chg="add del mod">
          <ac:chgData name="McLeod, Caroline" userId="43031ce9-49a3-4f5f-9207-5c83a33945f8" providerId="ADAL" clId="{1AB080F6-174F-49E1-A836-8B3925D1540E}" dt="2021-02-06T14:17:15.618" v="2224" actId="478"/>
          <ac:picMkLst>
            <pc:docMk/>
            <pc:sldMk cId="1032135914" sldId="294"/>
            <ac:picMk id="28" creationId="{9D7008F8-159C-4DA1-AA81-6DF9208CE9DB}"/>
          </ac:picMkLst>
        </pc:picChg>
        <pc:cxnChg chg="del">
          <ac:chgData name="McLeod, Caroline" userId="43031ce9-49a3-4f5f-9207-5c83a33945f8" providerId="ADAL" clId="{1AB080F6-174F-49E1-A836-8B3925D1540E}" dt="2021-02-05T18:11:43.500" v="1816" actId="478"/>
          <ac:cxnSpMkLst>
            <pc:docMk/>
            <pc:sldMk cId="1032135914" sldId="294"/>
            <ac:cxnSpMk id="32" creationId="{4F3015ED-B58D-48D1-A9E7-314772158B24}"/>
          </ac:cxnSpMkLst>
        </pc:cxnChg>
        <pc:cxnChg chg="del">
          <ac:chgData name="McLeod, Caroline" userId="43031ce9-49a3-4f5f-9207-5c83a33945f8" providerId="ADAL" clId="{1AB080F6-174F-49E1-A836-8B3925D1540E}" dt="2021-02-05T18:11:43.500" v="1816" actId="478"/>
          <ac:cxnSpMkLst>
            <pc:docMk/>
            <pc:sldMk cId="1032135914" sldId="294"/>
            <ac:cxnSpMk id="33" creationId="{883D7913-A7A6-40C1-915B-8BFB5EA47A2E}"/>
          </ac:cxnSpMkLst>
        </pc:cxnChg>
        <pc:cxnChg chg="del">
          <ac:chgData name="McLeod, Caroline" userId="43031ce9-49a3-4f5f-9207-5c83a33945f8" providerId="ADAL" clId="{1AB080F6-174F-49E1-A836-8B3925D1540E}" dt="2021-02-05T18:11:43.500" v="1816" actId="478"/>
          <ac:cxnSpMkLst>
            <pc:docMk/>
            <pc:sldMk cId="1032135914" sldId="294"/>
            <ac:cxnSpMk id="39" creationId="{1D6FF747-63B3-414B-8DF4-2B5400C2A3FC}"/>
          </ac:cxnSpMkLst>
        </pc:cxnChg>
      </pc:sldChg>
      <pc:sldChg chg="addCm modCm">
        <pc:chgData name="McLeod, Caroline" userId="43031ce9-49a3-4f5f-9207-5c83a33945f8" providerId="ADAL" clId="{1AB080F6-174F-49E1-A836-8B3925D1540E}" dt="2021-02-05T18:22:16.938" v="2058"/>
        <pc:sldMkLst>
          <pc:docMk/>
          <pc:sldMk cId="4246495997" sldId="296"/>
        </pc:sldMkLst>
      </pc:sldChg>
      <pc:sldChg chg="modNotesTx">
        <pc:chgData name="McLeod, Caroline" userId="43031ce9-49a3-4f5f-9207-5c83a33945f8" providerId="ADAL" clId="{1AB080F6-174F-49E1-A836-8B3925D1540E}" dt="2021-02-10T13:56:05.109" v="5153" actId="20577"/>
        <pc:sldMkLst>
          <pc:docMk/>
          <pc:sldMk cId="142826157" sldId="298"/>
        </pc:sldMkLst>
      </pc:sldChg>
      <pc:sldChg chg="modTransition addCm modCm">
        <pc:chgData name="McLeod, Caroline" userId="43031ce9-49a3-4f5f-9207-5c83a33945f8" providerId="ADAL" clId="{1AB080F6-174F-49E1-A836-8B3925D1540E}" dt="2021-02-08T21:15:15.583" v="4593"/>
        <pc:sldMkLst>
          <pc:docMk/>
          <pc:sldMk cId="2533658839" sldId="2845"/>
        </pc:sldMkLst>
      </pc:sldChg>
      <pc:sldChg chg="addSp delSp modSp add mod delAnim modAnim addCm delCm modCm modNotesTx">
        <pc:chgData name="McLeod, Caroline" userId="43031ce9-49a3-4f5f-9207-5c83a33945f8" providerId="ADAL" clId="{1AB080F6-174F-49E1-A836-8B3925D1540E}" dt="2021-02-08T20:48:01.260" v="2855" actId="20577"/>
        <pc:sldMkLst>
          <pc:docMk/>
          <pc:sldMk cId="1842567242" sldId="2846"/>
        </pc:sldMkLst>
        <pc:spChg chg="del">
          <ac:chgData name="McLeod, Caroline" userId="43031ce9-49a3-4f5f-9207-5c83a33945f8" providerId="ADAL" clId="{1AB080F6-174F-49E1-A836-8B3925D1540E}" dt="2021-02-05T17:58:20.591" v="988" actId="478"/>
          <ac:spMkLst>
            <pc:docMk/>
            <pc:sldMk cId="1842567242" sldId="2846"/>
            <ac:spMk id="22" creationId="{88657DEF-EF0A-483D-AA86-1E659508783A}"/>
          </ac:spMkLst>
        </pc:spChg>
        <pc:picChg chg="add del mod">
          <ac:chgData name="McLeod, Caroline" userId="43031ce9-49a3-4f5f-9207-5c83a33945f8" providerId="ADAL" clId="{1AB080F6-174F-49E1-A836-8B3925D1540E}" dt="2021-02-06T14:14:24.934" v="2182" actId="478"/>
          <ac:picMkLst>
            <pc:docMk/>
            <pc:sldMk cId="1842567242" sldId="2846"/>
            <ac:picMk id="15" creationId="{560A43F6-BD4B-4865-A697-F085EFA006EB}"/>
          </ac:picMkLst>
        </pc:picChg>
        <pc:picChg chg="add mod">
          <ac:chgData name="McLeod, Caroline" userId="43031ce9-49a3-4f5f-9207-5c83a33945f8" providerId="ADAL" clId="{1AB080F6-174F-49E1-A836-8B3925D1540E}" dt="2021-02-06T14:15:26.860" v="2197" actId="1038"/>
          <ac:picMkLst>
            <pc:docMk/>
            <pc:sldMk cId="1842567242" sldId="2846"/>
            <ac:picMk id="16" creationId="{E957A91A-CE72-4505-BCC4-4F672F7206D4}"/>
          </ac:picMkLst>
        </pc:picChg>
        <pc:picChg chg="del">
          <ac:chgData name="McLeod, Caroline" userId="43031ce9-49a3-4f5f-9207-5c83a33945f8" providerId="ADAL" clId="{1AB080F6-174F-49E1-A836-8B3925D1540E}" dt="2021-02-06T14:12:42.393" v="2179" actId="478"/>
          <ac:picMkLst>
            <pc:docMk/>
            <pc:sldMk cId="1842567242" sldId="2846"/>
            <ac:picMk id="21" creationId="{23926D39-5B2D-4B8F-9D3D-14084EA31225}"/>
          </ac:picMkLst>
        </pc:picChg>
      </pc:sldChg>
      <pc:sldChg chg="addSp delSp modSp add mod modAnim addCm delCm modCm modNotesTx">
        <pc:chgData name="McLeod, Caroline" userId="43031ce9-49a3-4f5f-9207-5c83a33945f8" providerId="ADAL" clId="{1AB080F6-174F-49E1-A836-8B3925D1540E}" dt="2021-02-08T20:51:11.853" v="3019" actId="20577"/>
        <pc:sldMkLst>
          <pc:docMk/>
          <pc:sldMk cId="1367909771" sldId="2847"/>
        </pc:sldMkLst>
        <pc:picChg chg="add mod">
          <ac:chgData name="McLeod, Caroline" userId="43031ce9-49a3-4f5f-9207-5c83a33945f8" providerId="ADAL" clId="{1AB080F6-174F-49E1-A836-8B3925D1540E}" dt="2021-02-06T14:15:21.089" v="2192" actId="1038"/>
          <ac:picMkLst>
            <pc:docMk/>
            <pc:sldMk cId="1367909771" sldId="2847"/>
            <ac:picMk id="15" creationId="{8EB8AADC-EE78-405D-A71B-4B304201D58B}"/>
          </ac:picMkLst>
        </pc:picChg>
        <pc:picChg chg="del">
          <ac:chgData name="McLeod, Caroline" userId="43031ce9-49a3-4f5f-9207-5c83a33945f8" providerId="ADAL" clId="{1AB080F6-174F-49E1-A836-8B3925D1540E}" dt="2021-02-06T14:15:15.975" v="2189" actId="478"/>
          <ac:picMkLst>
            <pc:docMk/>
            <pc:sldMk cId="1367909771" sldId="2847"/>
            <ac:picMk id="21" creationId="{23926D39-5B2D-4B8F-9D3D-14084EA31225}"/>
          </ac:picMkLst>
        </pc:picChg>
      </pc:sldChg>
      <pc:sldChg chg="addSp delSp modSp add mod modAnim addCm delCm modCm modNotesTx">
        <pc:chgData name="McLeod, Caroline" userId="43031ce9-49a3-4f5f-9207-5c83a33945f8" providerId="ADAL" clId="{1AB080F6-174F-49E1-A836-8B3925D1540E}" dt="2021-02-08T20:49:01.538" v="2868" actId="20577"/>
        <pc:sldMkLst>
          <pc:docMk/>
          <pc:sldMk cId="3762194150" sldId="2848"/>
        </pc:sldMkLst>
        <pc:picChg chg="add mod">
          <ac:chgData name="McLeod, Caroline" userId="43031ce9-49a3-4f5f-9207-5c83a33945f8" providerId="ADAL" clId="{1AB080F6-174F-49E1-A836-8B3925D1540E}" dt="2021-02-06T14:15:24.575" v="2195" actId="1038"/>
          <ac:picMkLst>
            <pc:docMk/>
            <pc:sldMk cId="3762194150" sldId="2848"/>
            <ac:picMk id="15" creationId="{96372399-7C8E-43B6-AEB5-E56BB05DF80D}"/>
          </ac:picMkLst>
        </pc:picChg>
        <pc:picChg chg="del">
          <ac:chgData name="McLeod, Caroline" userId="43031ce9-49a3-4f5f-9207-5c83a33945f8" providerId="ADAL" clId="{1AB080F6-174F-49E1-A836-8B3925D1540E}" dt="2021-02-06T14:14:50.538" v="2186" actId="478"/>
          <ac:picMkLst>
            <pc:docMk/>
            <pc:sldMk cId="3762194150" sldId="2848"/>
            <ac:picMk id="21" creationId="{23926D39-5B2D-4B8F-9D3D-14084EA31225}"/>
          </ac:picMkLst>
        </pc:picChg>
      </pc:sldChg>
      <pc:sldChg chg="addSp delSp modSp add mod modAnim addCm delCm modCm modNotesTx">
        <pc:chgData name="McLeod, Caroline" userId="43031ce9-49a3-4f5f-9207-5c83a33945f8" providerId="ADAL" clId="{1AB080F6-174F-49E1-A836-8B3925D1540E}" dt="2021-02-10T13:55:08.005" v="5069" actId="1592"/>
        <pc:sldMkLst>
          <pc:docMk/>
          <pc:sldMk cId="3576946675" sldId="2849"/>
        </pc:sldMkLst>
        <pc:spChg chg="add del mod">
          <ac:chgData name="McLeod, Caroline" userId="43031ce9-49a3-4f5f-9207-5c83a33945f8" providerId="ADAL" clId="{1AB080F6-174F-49E1-A836-8B3925D1540E}" dt="2021-02-06T14:18:43.811" v="2234" actId="478"/>
          <ac:spMkLst>
            <pc:docMk/>
            <pc:sldMk cId="3576946675" sldId="2849"/>
            <ac:spMk id="5" creationId="{60FEAAAE-323C-4E63-95A9-099CAE1C449C}"/>
          </ac:spMkLst>
        </pc:spChg>
        <pc:spChg chg="ord">
          <ac:chgData name="McLeod, Caroline" userId="43031ce9-49a3-4f5f-9207-5c83a33945f8" providerId="ADAL" clId="{1AB080F6-174F-49E1-A836-8B3925D1540E}" dt="2021-02-06T14:18:47.878" v="2235" actId="166"/>
          <ac:spMkLst>
            <pc:docMk/>
            <pc:sldMk cId="3576946675" sldId="2849"/>
            <ac:spMk id="27" creationId="{5F1328BC-8D9C-45BE-B2BD-A97924A63A6D}"/>
          </ac:spMkLst>
        </pc:spChg>
        <pc:picChg chg="del mod">
          <ac:chgData name="McLeod, Caroline" userId="43031ce9-49a3-4f5f-9207-5c83a33945f8" providerId="ADAL" clId="{1AB080F6-174F-49E1-A836-8B3925D1540E}" dt="2021-02-06T14:18:38.518" v="2232" actId="478"/>
          <ac:picMkLst>
            <pc:docMk/>
            <pc:sldMk cId="3576946675" sldId="2849"/>
            <ac:picMk id="3" creationId="{54179603-F4A2-4125-8990-8EDFCBF4E291}"/>
          </ac:picMkLst>
        </pc:picChg>
        <pc:picChg chg="add mod">
          <ac:chgData name="McLeod, Caroline" userId="43031ce9-49a3-4f5f-9207-5c83a33945f8" providerId="ADAL" clId="{1AB080F6-174F-49E1-A836-8B3925D1540E}" dt="2021-02-06T14:18:38.901" v="2233"/>
          <ac:picMkLst>
            <pc:docMk/>
            <pc:sldMk cId="3576946675" sldId="2849"/>
            <ac:picMk id="28" creationId="{84E14ADF-932F-404F-B15B-B86474972143}"/>
          </ac:picMkLst>
        </pc:picChg>
      </pc:sldChg>
    </pc:docChg>
  </pc:docChgLst>
  <pc:docChgLst>
    <pc:chgData name="McLeod, Caroline" userId="S::cmcleod@greatdentalplans.com::43031ce9-49a3-4f5f-9207-5c83a33945f8" providerId="AD" clId="Web-{CDA6BCA9-47CF-2BBC-F53A-91C22748CEBA}"/>
    <pc:docChg chg="addSld delSld modSld addMainMaster modMainMaster">
      <pc:chgData name="McLeod, Caroline" userId="S::cmcleod@greatdentalplans.com::43031ce9-49a3-4f5f-9207-5c83a33945f8" providerId="AD" clId="Web-{CDA6BCA9-47CF-2BBC-F53A-91C22748CEBA}" dt="2021-01-21T13:26:13.706" v="143"/>
      <pc:docMkLst>
        <pc:docMk/>
      </pc:docMkLst>
      <pc:sldChg chg="del">
        <pc:chgData name="McLeod, Caroline" userId="S::cmcleod@greatdentalplans.com::43031ce9-49a3-4f5f-9207-5c83a33945f8" providerId="AD" clId="Web-{CDA6BCA9-47CF-2BBC-F53A-91C22748CEBA}" dt="2021-01-21T13:11:55.884" v="1"/>
        <pc:sldMkLst>
          <pc:docMk/>
          <pc:sldMk cId="109857222" sldId="256"/>
        </pc:sldMkLst>
      </pc:sldChg>
      <pc:sldChg chg="addSp delSp modSp add del mod modClrScheme chgLayout">
        <pc:chgData name="McLeod, Caroline" userId="S::cmcleod@greatdentalplans.com::43031ce9-49a3-4f5f-9207-5c83a33945f8" providerId="AD" clId="Web-{CDA6BCA9-47CF-2BBC-F53A-91C22748CEBA}" dt="2021-01-21T13:21:16.713" v="101"/>
        <pc:sldMkLst>
          <pc:docMk/>
          <pc:sldMk cId="3356005573" sldId="257"/>
        </pc:sldMkLst>
        <pc:spChg chg="mod ord">
          <ac:chgData name="McLeod, Caroline" userId="S::cmcleod@greatdentalplans.com::43031ce9-49a3-4f5f-9207-5c83a33945f8" providerId="AD" clId="Web-{CDA6BCA9-47CF-2BBC-F53A-91C22748CEBA}" dt="2021-01-21T13:19:24.741" v="78"/>
          <ac:spMkLst>
            <pc:docMk/>
            <pc:sldMk cId="3356005573" sldId="257"/>
            <ac:spMk id="2" creationId="{00000000-0000-0000-0000-000000000000}"/>
          </ac:spMkLst>
        </pc:spChg>
        <pc:spChg chg="mod ord">
          <ac:chgData name="McLeod, Caroline" userId="S::cmcleod@greatdentalplans.com::43031ce9-49a3-4f5f-9207-5c83a33945f8" providerId="AD" clId="Web-{CDA6BCA9-47CF-2BBC-F53A-91C22748CEBA}" dt="2021-01-21T13:19:24.741" v="78"/>
          <ac:spMkLst>
            <pc:docMk/>
            <pc:sldMk cId="3356005573" sldId="257"/>
            <ac:spMk id="3" creationId="{00000000-0000-0000-0000-000000000000}"/>
          </ac:spMkLst>
        </pc:spChg>
        <pc:spChg chg="add del mod ord">
          <ac:chgData name="McLeod, Caroline" userId="S::cmcleod@greatdentalplans.com::43031ce9-49a3-4f5f-9207-5c83a33945f8" providerId="AD" clId="Web-{CDA6BCA9-47CF-2BBC-F53A-91C22748CEBA}" dt="2021-01-21T13:20:59.900" v="98" actId="1076"/>
          <ac:spMkLst>
            <pc:docMk/>
            <pc:sldMk cId="3356005573" sldId="257"/>
            <ac:spMk id="4" creationId="{F215113E-0F3B-4A8A-8F9E-AB3E07EFE14E}"/>
          </ac:spMkLst>
        </pc:spChg>
        <pc:spChg chg="add mod">
          <ac:chgData name="McLeod, Caroline" userId="S::cmcleod@greatdentalplans.com::43031ce9-49a3-4f5f-9207-5c83a33945f8" providerId="AD" clId="Web-{CDA6BCA9-47CF-2BBC-F53A-91C22748CEBA}" dt="2021-01-21T13:20:10.695" v="83" actId="1076"/>
          <ac:spMkLst>
            <pc:docMk/>
            <pc:sldMk cId="3356005573" sldId="257"/>
            <ac:spMk id="5" creationId="{923DC793-2990-47AB-9B71-52EEE72EFC0B}"/>
          </ac:spMkLst>
        </pc:spChg>
      </pc:sldChg>
      <pc:sldChg chg="modSp new mod modClrScheme chgLayout">
        <pc:chgData name="McLeod, Caroline" userId="S::cmcleod@greatdentalplans.com::43031ce9-49a3-4f5f-9207-5c83a33945f8" providerId="AD" clId="Web-{CDA6BCA9-47CF-2BBC-F53A-91C22748CEBA}" dt="2021-01-21T13:18:21.817" v="74" actId="20577"/>
        <pc:sldMkLst>
          <pc:docMk/>
          <pc:sldMk cId="154359010" sldId="258"/>
        </pc:sldMkLst>
        <pc:spChg chg="mod ord">
          <ac:chgData name="McLeod, Caroline" userId="S::cmcleod@greatdentalplans.com::43031ce9-49a3-4f5f-9207-5c83a33945f8" providerId="AD" clId="Web-{CDA6BCA9-47CF-2BBC-F53A-91C22748CEBA}" dt="2021-01-21T13:18:05.457" v="71" actId="20577"/>
          <ac:spMkLst>
            <pc:docMk/>
            <pc:sldMk cId="154359010" sldId="258"/>
            <ac:spMk id="2" creationId="{D62319BB-625B-4082-931E-38D112869772}"/>
          </ac:spMkLst>
        </pc:spChg>
        <pc:spChg chg="mod ord">
          <ac:chgData name="McLeod, Caroline" userId="S::cmcleod@greatdentalplans.com::43031ce9-49a3-4f5f-9207-5c83a33945f8" providerId="AD" clId="Web-{CDA6BCA9-47CF-2BBC-F53A-91C22748CEBA}" dt="2021-01-21T13:18:21.817" v="74" actId="20577"/>
          <ac:spMkLst>
            <pc:docMk/>
            <pc:sldMk cId="154359010" sldId="258"/>
            <ac:spMk id="3" creationId="{FBDDE163-28C2-4B83-9887-390F7EEA2991}"/>
          </ac:spMkLst>
        </pc:spChg>
      </pc:sldChg>
      <pc:sldChg chg="new del">
        <pc:chgData name="McLeod, Caroline" userId="S::cmcleod@greatdentalplans.com::43031ce9-49a3-4f5f-9207-5c83a33945f8" providerId="AD" clId="Web-{CDA6BCA9-47CF-2BBC-F53A-91C22748CEBA}" dt="2021-01-21T13:21:37.651" v="103"/>
        <pc:sldMkLst>
          <pc:docMk/>
          <pc:sldMk cId="657787382" sldId="259"/>
        </pc:sldMkLst>
      </pc:sldChg>
      <pc:sldChg chg="addSp delSp modSp add replId">
        <pc:chgData name="McLeod, Caroline" userId="S::cmcleod@greatdentalplans.com::43031ce9-49a3-4f5f-9207-5c83a33945f8" providerId="AD" clId="Web-{CDA6BCA9-47CF-2BBC-F53A-91C22748CEBA}" dt="2021-01-21T13:21:12.572" v="100"/>
        <pc:sldMkLst>
          <pc:docMk/>
          <pc:sldMk cId="705864357" sldId="260"/>
        </pc:sldMkLst>
        <pc:spChg chg="add del">
          <ac:chgData name="McLeod, Caroline" userId="S::cmcleod@greatdentalplans.com::43031ce9-49a3-4f5f-9207-5c83a33945f8" providerId="AD" clId="Web-{CDA6BCA9-47CF-2BBC-F53A-91C22748CEBA}" dt="2021-01-21T13:20:30.899" v="89"/>
          <ac:spMkLst>
            <pc:docMk/>
            <pc:sldMk cId="705864357" sldId="260"/>
            <ac:spMk id="2" creationId="{00000000-0000-0000-0000-000000000000}"/>
          </ac:spMkLst>
        </pc:spChg>
        <pc:spChg chg="del">
          <ac:chgData name="McLeod, Caroline" userId="S::cmcleod@greatdentalplans.com::43031ce9-49a3-4f5f-9207-5c83a33945f8" providerId="AD" clId="Web-{CDA6BCA9-47CF-2BBC-F53A-91C22748CEBA}" dt="2021-01-21T13:20:35.852" v="91"/>
          <ac:spMkLst>
            <pc:docMk/>
            <pc:sldMk cId="705864357" sldId="260"/>
            <ac:spMk id="3" creationId="{00000000-0000-0000-0000-000000000000}"/>
          </ac:spMkLst>
        </pc:spChg>
        <pc:spChg chg="add del">
          <ac:chgData name="McLeod, Caroline" userId="S::cmcleod@greatdentalplans.com::43031ce9-49a3-4f5f-9207-5c83a33945f8" providerId="AD" clId="Web-{CDA6BCA9-47CF-2BBC-F53A-91C22748CEBA}" dt="2021-01-21T13:20:48.978" v="95"/>
          <ac:spMkLst>
            <pc:docMk/>
            <pc:sldMk cId="705864357" sldId="260"/>
            <ac:spMk id="4" creationId="{F215113E-0F3B-4A8A-8F9E-AB3E07EFE14E}"/>
          </ac:spMkLst>
        </pc:spChg>
        <pc:spChg chg="mod">
          <ac:chgData name="McLeod, Caroline" userId="S::cmcleod@greatdentalplans.com::43031ce9-49a3-4f5f-9207-5c83a33945f8" providerId="AD" clId="Web-{CDA6BCA9-47CF-2BBC-F53A-91C22748CEBA}" dt="2021-01-21T13:20:53.665" v="97"/>
          <ac:spMkLst>
            <pc:docMk/>
            <pc:sldMk cId="705864357" sldId="260"/>
            <ac:spMk id="5" creationId="{923DC793-2990-47AB-9B71-52EEE72EFC0B}"/>
          </ac:spMkLst>
        </pc:spChg>
        <pc:spChg chg="add del mod">
          <ac:chgData name="McLeod, Caroline" userId="S::cmcleod@greatdentalplans.com::43031ce9-49a3-4f5f-9207-5c83a33945f8" providerId="AD" clId="Web-{CDA6BCA9-47CF-2BBC-F53A-91C22748CEBA}" dt="2021-01-21T13:20:24.383" v="87"/>
          <ac:spMkLst>
            <pc:docMk/>
            <pc:sldMk cId="705864357" sldId="260"/>
            <ac:spMk id="7" creationId="{0C3C6595-80D3-4A4C-86EE-1CB146219027}"/>
          </ac:spMkLst>
        </pc:spChg>
        <pc:spChg chg="add del mod">
          <ac:chgData name="McLeod, Caroline" userId="S::cmcleod@greatdentalplans.com::43031ce9-49a3-4f5f-9207-5c83a33945f8" providerId="AD" clId="Web-{CDA6BCA9-47CF-2BBC-F53A-91C22748CEBA}" dt="2021-01-21T13:20:33.899" v="90"/>
          <ac:spMkLst>
            <pc:docMk/>
            <pc:sldMk cId="705864357" sldId="260"/>
            <ac:spMk id="9" creationId="{04ED7C15-C759-4EBB-A142-0F6DB0E37AD5}"/>
          </ac:spMkLst>
        </pc:spChg>
        <pc:spChg chg="add del mod">
          <ac:chgData name="McLeod, Caroline" userId="S::cmcleod@greatdentalplans.com::43031ce9-49a3-4f5f-9207-5c83a33945f8" providerId="AD" clId="Web-{CDA6BCA9-47CF-2BBC-F53A-91C22748CEBA}" dt="2021-01-21T13:20:38.477" v="92"/>
          <ac:spMkLst>
            <pc:docMk/>
            <pc:sldMk cId="705864357" sldId="260"/>
            <ac:spMk id="11" creationId="{38C9D801-6403-498C-A2BD-88412BBBB278}"/>
          </ac:spMkLst>
        </pc:spChg>
        <pc:spChg chg="add mod">
          <ac:chgData name="McLeod, Caroline" userId="S::cmcleod@greatdentalplans.com::43031ce9-49a3-4f5f-9207-5c83a33945f8" providerId="AD" clId="Web-{CDA6BCA9-47CF-2BBC-F53A-91C22748CEBA}" dt="2021-01-21T13:21:12.557" v="99"/>
          <ac:spMkLst>
            <pc:docMk/>
            <pc:sldMk cId="705864357" sldId="260"/>
            <ac:spMk id="13" creationId="{60210121-CE4D-4277-8047-FD5B4616349C}"/>
          </ac:spMkLst>
        </pc:spChg>
        <pc:spChg chg="add mod">
          <ac:chgData name="McLeod, Caroline" userId="S::cmcleod@greatdentalplans.com::43031ce9-49a3-4f5f-9207-5c83a33945f8" providerId="AD" clId="Web-{CDA6BCA9-47CF-2BBC-F53A-91C22748CEBA}" dt="2021-01-21T13:21:12.572" v="100"/>
          <ac:spMkLst>
            <pc:docMk/>
            <pc:sldMk cId="705864357" sldId="260"/>
            <ac:spMk id="15" creationId="{D0E98AA7-AC2A-4A65-8741-35FCE6D15EC0}"/>
          </ac:spMkLst>
        </pc:spChg>
      </pc:sldChg>
      <pc:sldChg chg="modSp add">
        <pc:chgData name="McLeod, Caroline" userId="S::cmcleod@greatdentalplans.com::43031ce9-49a3-4f5f-9207-5c83a33945f8" providerId="AD" clId="Web-{CDA6BCA9-47CF-2BBC-F53A-91C22748CEBA}" dt="2021-01-21T13:21:50.339" v="115" actId="20577"/>
        <pc:sldMkLst>
          <pc:docMk/>
          <pc:sldMk cId="3326831338" sldId="261"/>
        </pc:sldMkLst>
        <pc:spChg chg="mod">
          <ac:chgData name="McLeod, Caroline" userId="S::cmcleod@greatdentalplans.com::43031ce9-49a3-4f5f-9207-5c83a33945f8" providerId="AD" clId="Web-{CDA6BCA9-47CF-2BBC-F53A-91C22748CEBA}" dt="2021-01-21T13:21:50.339" v="115" actId="20577"/>
          <ac:spMkLst>
            <pc:docMk/>
            <pc:sldMk cId="3326831338" sldId="261"/>
            <ac:spMk id="2" creationId="{FBF075A1-46F6-49D2-B4F2-2259C6296EA0}"/>
          </ac:spMkLst>
        </pc:spChg>
      </pc:sldChg>
      <pc:sldChg chg="add del">
        <pc:chgData name="McLeod, Caroline" userId="S::cmcleod@greatdentalplans.com::43031ce9-49a3-4f5f-9207-5c83a33945f8" providerId="AD" clId="Web-{CDA6BCA9-47CF-2BBC-F53A-91C22748CEBA}" dt="2021-01-21T13:24:17.922" v="117"/>
        <pc:sldMkLst>
          <pc:docMk/>
          <pc:sldMk cId="2353622629" sldId="262"/>
        </pc:sldMkLst>
      </pc:sldChg>
      <pc:sldChg chg="modSp add del">
        <pc:chgData name="McLeod, Caroline" userId="S::cmcleod@greatdentalplans.com::43031ce9-49a3-4f5f-9207-5c83a33945f8" providerId="AD" clId="Web-{CDA6BCA9-47CF-2BBC-F53A-91C22748CEBA}" dt="2021-01-21T13:26:13.706" v="143"/>
        <pc:sldMkLst>
          <pc:docMk/>
          <pc:sldMk cId="2999448718" sldId="262"/>
        </pc:sldMkLst>
        <pc:picChg chg="mod">
          <ac:chgData name="McLeod, Caroline" userId="S::cmcleod@greatdentalplans.com::43031ce9-49a3-4f5f-9207-5c83a33945f8" providerId="AD" clId="Web-{CDA6BCA9-47CF-2BBC-F53A-91C22748CEBA}" dt="2021-01-21T13:25:39.955" v="130" actId="1076"/>
          <ac:picMkLst>
            <pc:docMk/>
            <pc:sldMk cId="2999448718" sldId="262"/>
            <ac:picMk id="7" creationId="{1F3F4B34-017F-4C18-91F2-86660422C0EC}"/>
          </ac:picMkLst>
        </pc:picChg>
      </pc:sldChg>
      <pc:sldChg chg="addSp modSp new mod modClrScheme chgLayout">
        <pc:chgData name="McLeod, Caroline" userId="S::cmcleod@greatdentalplans.com::43031ce9-49a3-4f5f-9207-5c83a33945f8" providerId="AD" clId="Web-{CDA6BCA9-47CF-2BBC-F53A-91C22748CEBA}" dt="2021-01-21T13:26:11.081" v="142" actId="1076"/>
        <pc:sldMkLst>
          <pc:docMk/>
          <pc:sldMk cId="3355587186" sldId="263"/>
        </pc:sldMkLst>
        <pc:spChg chg="mod ord">
          <ac:chgData name="McLeod, Caroline" userId="S::cmcleod@greatdentalplans.com::43031ce9-49a3-4f5f-9207-5c83a33945f8" providerId="AD" clId="Web-{CDA6BCA9-47CF-2BBC-F53A-91C22748CEBA}" dt="2021-01-21T13:24:57.657" v="122" actId="20577"/>
          <ac:spMkLst>
            <pc:docMk/>
            <pc:sldMk cId="3355587186" sldId="263"/>
            <ac:spMk id="2" creationId="{545DDF79-2D31-4CB3-8162-6BA9690AEB42}"/>
          </ac:spMkLst>
        </pc:spChg>
        <pc:spChg chg="mod ord">
          <ac:chgData name="McLeod, Caroline" userId="S::cmcleod@greatdentalplans.com::43031ce9-49a3-4f5f-9207-5c83a33945f8" providerId="AD" clId="Web-{CDA6BCA9-47CF-2BBC-F53A-91C22748CEBA}" dt="2021-01-21T13:24:45.204" v="120"/>
          <ac:spMkLst>
            <pc:docMk/>
            <pc:sldMk cId="3355587186" sldId="263"/>
            <ac:spMk id="3" creationId="{5ECC9D8D-0C60-4472-BE66-F72A84EF1321}"/>
          </ac:spMkLst>
        </pc:spChg>
        <pc:spChg chg="add mod ord">
          <ac:chgData name="McLeod, Caroline" userId="S::cmcleod@greatdentalplans.com::43031ce9-49a3-4f5f-9207-5c83a33945f8" providerId="AD" clId="Web-{CDA6BCA9-47CF-2BBC-F53A-91C22748CEBA}" dt="2021-01-21T13:25:22.830" v="127" actId="20577"/>
          <ac:spMkLst>
            <pc:docMk/>
            <pc:sldMk cId="3355587186" sldId="263"/>
            <ac:spMk id="4" creationId="{EF4DBA36-B0F4-48D8-884E-D8F2F1487B4D}"/>
          </ac:spMkLst>
        </pc:spChg>
        <pc:spChg chg="add mod">
          <ac:chgData name="McLeod, Caroline" userId="S::cmcleod@greatdentalplans.com::43031ce9-49a3-4f5f-9207-5c83a33945f8" providerId="AD" clId="Web-{CDA6BCA9-47CF-2BBC-F53A-91C22748CEBA}" dt="2021-01-21T13:26:11.081" v="141" actId="1076"/>
          <ac:spMkLst>
            <pc:docMk/>
            <pc:sldMk cId="3355587186" sldId="263"/>
            <ac:spMk id="10" creationId="{F5566E48-8D1C-4F4D-A392-7B4A0844AF0B}"/>
          </ac:spMkLst>
        </pc:spChg>
        <pc:picChg chg="add mod">
          <ac:chgData name="McLeod, Caroline" userId="S::cmcleod@greatdentalplans.com::43031ce9-49a3-4f5f-9207-5c83a33945f8" providerId="AD" clId="Web-{CDA6BCA9-47CF-2BBC-F53A-91C22748CEBA}" dt="2021-01-21T13:26:11.066" v="139" actId="1076"/>
          <ac:picMkLst>
            <pc:docMk/>
            <pc:sldMk cId="3355587186" sldId="263"/>
            <ac:picMk id="6" creationId="{79910EFB-BB7A-4E26-B4F9-3F08190D8204}"/>
          </ac:picMkLst>
        </pc:picChg>
        <pc:picChg chg="add mod">
          <ac:chgData name="McLeod, Caroline" userId="S::cmcleod@greatdentalplans.com::43031ce9-49a3-4f5f-9207-5c83a33945f8" providerId="AD" clId="Web-{CDA6BCA9-47CF-2BBC-F53A-91C22748CEBA}" dt="2021-01-21T13:26:11.081" v="140" actId="1076"/>
          <ac:picMkLst>
            <pc:docMk/>
            <pc:sldMk cId="3355587186" sldId="263"/>
            <ac:picMk id="8" creationId="{0E5EB08E-D943-471F-8008-CF628E2CB295}"/>
          </ac:picMkLst>
        </pc:picChg>
        <pc:picChg chg="add mod">
          <ac:chgData name="McLeod, Caroline" userId="S::cmcleod@greatdentalplans.com::43031ce9-49a3-4f5f-9207-5c83a33945f8" providerId="AD" clId="Web-{CDA6BCA9-47CF-2BBC-F53A-91C22748CEBA}" dt="2021-01-21T13:26:11.081" v="142" actId="1076"/>
          <ac:picMkLst>
            <pc:docMk/>
            <pc:sldMk cId="3355587186" sldId="263"/>
            <ac:picMk id="12" creationId="{01E7F6DA-54DA-42C4-B88B-A042C891595F}"/>
          </ac:picMkLst>
        </pc:picChg>
      </pc:sldChg>
      <pc:sldMasterChg chg="add addSldLayout">
        <pc:chgData name="McLeod, Caroline" userId="S::cmcleod@greatdentalplans.com::43031ce9-49a3-4f5f-9207-5c83a33945f8" providerId="AD" clId="Web-{CDA6BCA9-47CF-2BBC-F53A-91C22748CEBA}" dt="2021-01-21T13:23:45.311" v="116"/>
        <pc:sldMasterMkLst>
          <pc:docMk/>
          <pc:sldMasterMk cId="3434583292" sldId="2147483648"/>
        </pc:sldMasterMkLst>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694810674" sldId="2147483649"/>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84979205" sldId="2147483650"/>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028814443" sldId="2147483651"/>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187661543" sldId="2147483652"/>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89618877" sldId="2147483653"/>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878641747" sldId="2147483654"/>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911057084" sldId="2147483655"/>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390318904" sldId="2147483656"/>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803416070" sldId="2147483657"/>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258960895" sldId="2147483676"/>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106958734" sldId="2147483677"/>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4221609258" sldId="2147483678"/>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4114473868" sldId="2147483679"/>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359956026" sldId="2147483680"/>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035085988" sldId="2147483681"/>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258851992" sldId="2147483682"/>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686419478" sldId="2147483683"/>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815424886" sldId="2147483684"/>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565490311" sldId="2147483685"/>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681869821" sldId="2147483686"/>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493388266" sldId="2147483687"/>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633710137" sldId="2147483688"/>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303732246" sldId="2147483689"/>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108078959" sldId="2147483690"/>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014259182" sldId="2147483691"/>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230872149" sldId="2147483692"/>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728092510" sldId="2147483693"/>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627732245" sldId="2147483694"/>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884734306" sldId="2147483695"/>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565382800" sldId="2147483696"/>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059679632" sldId="2147483697"/>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589529795" sldId="2147483698"/>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840593002" sldId="2147483699"/>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57739575" sldId="2147483700"/>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02084420" sldId="2147483701"/>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105085586" sldId="2147484042"/>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855044332" sldId="2147484043"/>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724836410" sldId="2147484044"/>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928379178" sldId="2147484045"/>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377171018" sldId="2147484046"/>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440533000" sldId="2147484047"/>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74013615" sldId="2147484048"/>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43879636" sldId="2147484049"/>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757538097" sldId="2147484050"/>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4151357272" sldId="2147484051"/>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414620619" sldId="2147484052"/>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4245620172" sldId="2147484053"/>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274798320" sldId="2147484054"/>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162233376" sldId="2147484055"/>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1803982126" sldId="2147484056"/>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2883340266" sldId="2147484057"/>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454458272" sldId="2147484058"/>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4281018264" sldId="2147484059"/>
          </pc:sldLayoutMkLst>
        </pc:sldLayoutChg>
        <pc:sldLayoutChg chg="add">
          <pc:chgData name="McLeod, Caroline" userId="S::cmcleod@greatdentalplans.com::43031ce9-49a3-4f5f-9207-5c83a33945f8" providerId="AD" clId="Web-{CDA6BCA9-47CF-2BBC-F53A-91C22748CEBA}" dt="2021-01-21T13:23:45.311" v="116"/>
          <pc:sldLayoutMkLst>
            <pc:docMk/>
            <pc:sldMasterMk cId="3434583292" sldId="2147483648"/>
            <pc:sldLayoutMk cId="3105386309" sldId="2147484060"/>
          </pc:sldLayoutMkLst>
        </pc:sldLayoutChg>
      </pc:sldMasterChg>
      <pc:sldMasterChg chg="add addSldLayout">
        <pc:chgData name="McLeod, Caroline" userId="S::cmcleod@greatdentalplans.com::43031ce9-49a3-4f5f-9207-5c83a33945f8" providerId="AD" clId="Web-{CDA6BCA9-47CF-2BBC-F53A-91C22748CEBA}" dt="2021-01-21T13:11:53.977" v="0"/>
        <pc:sldMasterMkLst>
          <pc:docMk/>
          <pc:sldMasterMk cId="106315995" sldId="2147483725"/>
        </pc:sldMasterMkLst>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464033982" sldId="2147483726"/>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662481531" sldId="2147483727"/>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3728749857" sldId="2147483728"/>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996079472" sldId="2147483729"/>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649924181" sldId="2147483730"/>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3938752365" sldId="2147483731"/>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395553532" sldId="2147483732"/>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3138913536" sldId="2147483734"/>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649742962" sldId="2147483735"/>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715707115" sldId="2147483736"/>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162784065" sldId="2147483737"/>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054208411" sldId="2147483738"/>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563594611" sldId="2147483739"/>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3958604410" sldId="2147483740"/>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941063637" sldId="2147483741"/>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3264726290" sldId="2147483742"/>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400462903" sldId="2147483743"/>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510064129" sldId="2147483745"/>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4007667784" sldId="2147483747"/>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91532533" sldId="2147483748"/>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948037493" sldId="2147483749"/>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969929919" sldId="2147483750"/>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3587734764" sldId="2147483752"/>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832495153" sldId="2147483754"/>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791140849" sldId="2147484012"/>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4161767741" sldId="2147484018"/>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210831184" sldId="2147484019"/>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3709049107" sldId="2147484021"/>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025811379" sldId="2147484024"/>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701494732" sldId="2147484025"/>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01527455" sldId="2147484026"/>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264549635" sldId="2147484027"/>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490365226" sldId="2147484028"/>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2910353751" sldId="2147484029"/>
          </pc:sldLayoutMkLst>
        </pc:sldLayoutChg>
        <pc:sldLayoutChg chg="add">
          <pc:chgData name="McLeod, Caroline" userId="S::cmcleod@greatdentalplans.com::43031ce9-49a3-4f5f-9207-5c83a33945f8" providerId="AD" clId="Web-{CDA6BCA9-47CF-2BBC-F53A-91C22748CEBA}" dt="2021-01-21T13:11:53.977" v="0"/>
          <pc:sldLayoutMkLst>
            <pc:docMk/>
            <pc:sldMasterMk cId="106315995" sldId="2147483725"/>
            <pc:sldLayoutMk cId="1977663909" sldId="2147484061"/>
          </pc:sldLayoutMkLst>
        </pc:sldLayoutChg>
      </pc:sldMasterChg>
      <pc:sldMasterChg chg="replId modSldLayout">
        <pc:chgData name="McLeod, Caroline" userId="S::cmcleod@greatdentalplans.com::43031ce9-49a3-4f5f-9207-5c83a33945f8" providerId="AD" clId="Web-{CDA6BCA9-47CF-2BBC-F53A-91C22748CEBA}" dt="2021-01-21T13:23:45.311" v="116"/>
        <pc:sldMasterMkLst>
          <pc:docMk/>
          <pc:sldMasterMk cId="2460954070" sldId="2147484030"/>
        </pc:sldMasterMkLst>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2385387890" sldId="2147484031"/>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949138452" sldId="2147484032"/>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2591524520" sldId="2147484033"/>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1203092039" sldId="2147484034"/>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3733172339" sldId="2147484035"/>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3210312558" sldId="2147484036"/>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3146388984" sldId="2147484037"/>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3171841454" sldId="2147484038"/>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1718958274" sldId="2147484039"/>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2202905451" sldId="2147484040"/>
          </pc:sldLayoutMkLst>
        </pc:sldLayoutChg>
        <pc:sldLayoutChg chg="replId">
          <pc:chgData name="McLeod, Caroline" userId="S::cmcleod@greatdentalplans.com::43031ce9-49a3-4f5f-9207-5c83a33945f8" providerId="AD" clId="Web-{CDA6BCA9-47CF-2BBC-F53A-91C22748CEBA}" dt="2021-01-21T13:23:45.311" v="116"/>
          <pc:sldLayoutMkLst>
            <pc:docMk/>
            <pc:sldMasterMk cId="2460954070" sldId="2147484030"/>
            <pc:sldLayoutMk cId="3479445657" sldId="2147484041"/>
          </pc:sldLayoutMkLst>
        </pc:sldLayoutChg>
      </pc:sldMasterChg>
    </pc:docChg>
  </pc:docChgLst>
  <pc:docChgLst>
    <pc:chgData name="McLeod, Caroline" userId="S::cmcleod@greatdentalplans.com::43031ce9-49a3-4f5f-9207-5c83a33945f8" providerId="AD" clId="Web-{5E86274D-E192-1B15-6B32-AC5A104FCE0A}"/>
    <pc:docChg chg="addSld delSld modSld sldOrd">
      <pc:chgData name="McLeod, Caroline" userId="S::cmcleod@greatdentalplans.com::43031ce9-49a3-4f5f-9207-5c83a33945f8" providerId="AD" clId="Web-{5E86274D-E192-1B15-6B32-AC5A104FCE0A}" dt="2021-02-03T18:48:39.358" v="872"/>
      <pc:docMkLst>
        <pc:docMk/>
      </pc:docMkLst>
      <pc:sldChg chg="modNotes">
        <pc:chgData name="McLeod, Caroline" userId="S::cmcleod@greatdentalplans.com::43031ce9-49a3-4f5f-9207-5c83a33945f8" providerId="AD" clId="Web-{5E86274D-E192-1B15-6B32-AC5A104FCE0A}" dt="2021-02-03T18:43:34.414" v="498"/>
        <pc:sldMkLst>
          <pc:docMk/>
          <pc:sldMk cId="3326831338" sldId="261"/>
        </pc:sldMkLst>
      </pc:sldChg>
      <pc:sldChg chg="addSp delSp modSp ord modNotes">
        <pc:chgData name="McLeod, Caroline" userId="S::cmcleod@greatdentalplans.com::43031ce9-49a3-4f5f-9207-5c83a33945f8" providerId="AD" clId="Web-{5E86274D-E192-1B15-6B32-AC5A104FCE0A}" dt="2021-02-03T18:37:45.609" v="257"/>
        <pc:sldMkLst>
          <pc:docMk/>
          <pc:sldMk cId="696052771" sldId="272"/>
        </pc:sldMkLst>
        <pc:spChg chg="mod">
          <ac:chgData name="McLeod, Caroline" userId="S::cmcleod@greatdentalplans.com::43031ce9-49a3-4f5f-9207-5c83a33945f8" providerId="AD" clId="Web-{5E86274D-E192-1B15-6B32-AC5A104FCE0A}" dt="2021-02-03T18:32:56.525" v="228" actId="20577"/>
          <ac:spMkLst>
            <pc:docMk/>
            <pc:sldMk cId="696052771" sldId="272"/>
            <ac:spMk id="2" creationId="{E034392D-753F-440A-8DE4-6C170094B792}"/>
          </ac:spMkLst>
        </pc:spChg>
        <pc:spChg chg="del">
          <ac:chgData name="McLeod, Caroline" userId="S::cmcleod@greatdentalplans.com::43031ce9-49a3-4f5f-9207-5c83a33945f8" providerId="AD" clId="Web-{5E86274D-E192-1B15-6B32-AC5A104FCE0A}" dt="2021-02-03T18:32:37.884" v="215"/>
          <ac:spMkLst>
            <pc:docMk/>
            <pc:sldMk cId="696052771" sldId="272"/>
            <ac:spMk id="4" creationId="{8E08DF82-6F1A-410F-97D0-98FA39F74B5F}"/>
          </ac:spMkLst>
        </pc:spChg>
        <pc:spChg chg="add mod">
          <ac:chgData name="McLeod, Caroline" userId="S::cmcleod@greatdentalplans.com::43031ce9-49a3-4f5f-9207-5c83a33945f8" providerId="AD" clId="Web-{5E86274D-E192-1B15-6B32-AC5A104FCE0A}" dt="2021-02-03T18:33:40.651" v="237" actId="1076"/>
          <ac:spMkLst>
            <pc:docMk/>
            <pc:sldMk cId="696052771" sldId="272"/>
            <ac:spMk id="5" creationId="{C8338EC5-949D-45A0-B593-7FD9013D5B44}"/>
          </ac:spMkLst>
        </pc:spChg>
        <pc:picChg chg="add del mod">
          <ac:chgData name="McLeod, Caroline" userId="S::cmcleod@greatdentalplans.com::43031ce9-49a3-4f5f-9207-5c83a33945f8" providerId="AD" clId="Web-{5E86274D-E192-1B15-6B32-AC5A104FCE0A}" dt="2021-02-03T18:36:40.780" v="249"/>
          <ac:picMkLst>
            <pc:docMk/>
            <pc:sldMk cId="696052771" sldId="272"/>
            <ac:picMk id="6" creationId="{942A8F6A-2AB3-4AC7-9B64-A2C19AC40B04}"/>
          </ac:picMkLst>
        </pc:picChg>
        <pc:picChg chg="add mod">
          <ac:chgData name="McLeod, Caroline" userId="S::cmcleod@greatdentalplans.com::43031ce9-49a3-4f5f-9207-5c83a33945f8" providerId="AD" clId="Web-{5E86274D-E192-1B15-6B32-AC5A104FCE0A}" dt="2021-02-03T18:36:51.983" v="255" actId="1076"/>
          <ac:picMkLst>
            <pc:docMk/>
            <pc:sldMk cId="696052771" sldId="272"/>
            <ac:picMk id="7" creationId="{814B0D37-8C6A-44D9-8466-32A5B8E9BD24}"/>
          </ac:picMkLst>
        </pc:picChg>
        <pc:picChg chg="add del mod">
          <ac:chgData name="McLeod, Caroline" userId="S::cmcleod@greatdentalplans.com::43031ce9-49a3-4f5f-9207-5c83a33945f8" providerId="AD" clId="Web-{5E86274D-E192-1B15-6B32-AC5A104FCE0A}" dt="2021-02-03T18:37:45.609" v="257"/>
          <ac:picMkLst>
            <pc:docMk/>
            <pc:sldMk cId="696052771" sldId="272"/>
            <ac:picMk id="8" creationId="{68F432BB-5E89-43E7-96B9-4B9042FA2C5C}"/>
          </ac:picMkLst>
        </pc:picChg>
      </pc:sldChg>
      <pc:sldChg chg="addSp modSp addCm delCm">
        <pc:chgData name="McLeod, Caroline" userId="S::cmcleod@greatdentalplans.com::43031ce9-49a3-4f5f-9207-5c83a33945f8" providerId="AD" clId="Web-{5E86274D-E192-1B15-6B32-AC5A104FCE0A}" dt="2021-02-03T18:48:39.358" v="872"/>
        <pc:sldMkLst>
          <pc:docMk/>
          <pc:sldMk cId="3578281583" sldId="273"/>
        </pc:sldMkLst>
        <pc:spChg chg="add mod">
          <ac:chgData name="McLeod, Caroline" userId="S::cmcleod@greatdentalplans.com::43031ce9-49a3-4f5f-9207-5c83a33945f8" providerId="AD" clId="Web-{5E86274D-E192-1B15-6B32-AC5A104FCE0A}" dt="2021-02-03T18:48:39.358" v="872"/>
          <ac:spMkLst>
            <pc:docMk/>
            <pc:sldMk cId="3578281583" sldId="273"/>
            <ac:spMk id="2" creationId="{26B89B30-385E-4EC5-A849-C94AD0496FA5}"/>
          </ac:spMkLst>
        </pc:spChg>
      </pc:sldChg>
      <pc:sldChg chg="addSp delSp modSp">
        <pc:chgData name="McLeod, Caroline" userId="S::cmcleod@greatdentalplans.com::43031ce9-49a3-4f5f-9207-5c83a33945f8" providerId="AD" clId="Web-{5E86274D-E192-1B15-6B32-AC5A104FCE0A}" dt="2021-02-03T14:39:41.357" v="19"/>
        <pc:sldMkLst>
          <pc:docMk/>
          <pc:sldMk cId="3725104515" sldId="275"/>
        </pc:sldMkLst>
        <pc:spChg chg="del">
          <ac:chgData name="McLeod, Caroline" userId="S::cmcleod@greatdentalplans.com::43031ce9-49a3-4f5f-9207-5c83a33945f8" providerId="AD" clId="Web-{5E86274D-E192-1B15-6B32-AC5A104FCE0A}" dt="2021-02-03T14:39:38.451" v="18"/>
          <ac:spMkLst>
            <pc:docMk/>
            <pc:sldMk cId="3725104515" sldId="275"/>
            <ac:spMk id="8" creationId="{C4691361-A2C8-437E-A347-FF1A9623A7D4}"/>
          </ac:spMkLst>
        </pc:spChg>
        <pc:spChg chg="add del mod">
          <ac:chgData name="McLeod, Caroline" userId="S::cmcleod@greatdentalplans.com::43031ce9-49a3-4f5f-9207-5c83a33945f8" providerId="AD" clId="Web-{5E86274D-E192-1B15-6B32-AC5A104FCE0A}" dt="2021-02-03T14:39:36.638" v="17"/>
          <ac:spMkLst>
            <pc:docMk/>
            <pc:sldMk cId="3725104515" sldId="275"/>
            <ac:spMk id="34" creationId="{8D789EA7-B416-4CAB-ABD2-066C531E1DC9}"/>
          </ac:spMkLst>
        </pc:spChg>
        <pc:spChg chg="del">
          <ac:chgData name="McLeod, Caroline" userId="S::cmcleod@greatdentalplans.com::43031ce9-49a3-4f5f-9207-5c83a33945f8" providerId="AD" clId="Web-{5E86274D-E192-1B15-6B32-AC5A104FCE0A}" dt="2021-02-03T14:39:41.357" v="19"/>
          <ac:spMkLst>
            <pc:docMk/>
            <pc:sldMk cId="3725104515" sldId="275"/>
            <ac:spMk id="45" creationId="{FEF7F17B-D88A-4753-8CF2-751124A3D656}"/>
          </ac:spMkLst>
        </pc:spChg>
        <pc:picChg chg="del">
          <ac:chgData name="McLeod, Caroline" userId="S::cmcleod@greatdentalplans.com::43031ce9-49a3-4f5f-9207-5c83a33945f8" providerId="AD" clId="Web-{5E86274D-E192-1B15-6B32-AC5A104FCE0A}" dt="2021-02-03T14:39:28.857" v="16"/>
          <ac:picMkLst>
            <pc:docMk/>
            <pc:sldMk cId="3725104515" sldId="275"/>
            <ac:picMk id="3" creationId="{54179603-F4A2-4125-8990-8EDFCBF4E291}"/>
          </ac:picMkLst>
        </pc:picChg>
      </pc:sldChg>
      <pc:sldChg chg="delCm">
        <pc:chgData name="McLeod, Caroline" userId="S::cmcleod@greatdentalplans.com::43031ce9-49a3-4f5f-9207-5c83a33945f8" providerId="AD" clId="Web-{5E86274D-E192-1B15-6B32-AC5A104FCE0A}" dt="2021-02-03T12:59:05.558" v="0"/>
        <pc:sldMkLst>
          <pc:docMk/>
          <pc:sldMk cId="1279239907" sldId="276"/>
        </pc:sldMkLst>
      </pc:sldChg>
      <pc:sldChg chg="modSp modNotes">
        <pc:chgData name="McLeod, Caroline" userId="S::cmcleod@greatdentalplans.com::43031ce9-49a3-4f5f-9207-5c83a33945f8" providerId="AD" clId="Web-{5E86274D-E192-1B15-6B32-AC5A104FCE0A}" dt="2021-02-03T14:48:03.165" v="33" actId="20577"/>
        <pc:sldMkLst>
          <pc:docMk/>
          <pc:sldMk cId="2153171638" sldId="277"/>
        </pc:sldMkLst>
        <pc:spChg chg="mod">
          <ac:chgData name="McLeod, Caroline" userId="S::cmcleod@greatdentalplans.com::43031ce9-49a3-4f5f-9207-5c83a33945f8" providerId="AD" clId="Web-{5E86274D-E192-1B15-6B32-AC5A104FCE0A}" dt="2021-02-03T14:48:03.165" v="33" actId="20577"/>
          <ac:spMkLst>
            <pc:docMk/>
            <pc:sldMk cId="2153171638" sldId="277"/>
            <ac:spMk id="3" creationId="{777BA8D7-D8ED-4E75-A7E3-FAD9386AD960}"/>
          </ac:spMkLst>
        </pc:spChg>
      </pc:sldChg>
      <pc:sldChg chg="modNotes">
        <pc:chgData name="McLeod, Caroline" userId="S::cmcleod@greatdentalplans.com::43031ce9-49a3-4f5f-9207-5c83a33945f8" providerId="AD" clId="Web-{5E86274D-E192-1B15-6B32-AC5A104FCE0A}" dt="2021-02-03T14:54:19.657" v="93"/>
        <pc:sldMkLst>
          <pc:docMk/>
          <pc:sldMk cId="3771027733" sldId="280"/>
        </pc:sldMkLst>
      </pc:sldChg>
      <pc:sldChg chg="modNotes">
        <pc:chgData name="McLeod, Caroline" userId="S::cmcleod@greatdentalplans.com::43031ce9-49a3-4f5f-9207-5c83a33945f8" providerId="AD" clId="Web-{5E86274D-E192-1B15-6B32-AC5A104FCE0A}" dt="2021-02-03T14:52:18.654" v="87"/>
        <pc:sldMkLst>
          <pc:docMk/>
          <pc:sldMk cId="3066448132" sldId="283"/>
        </pc:sldMkLst>
      </pc:sldChg>
      <pc:sldChg chg="del">
        <pc:chgData name="McLeod, Caroline" userId="S::cmcleod@greatdentalplans.com::43031ce9-49a3-4f5f-9207-5c83a33945f8" providerId="AD" clId="Web-{5E86274D-E192-1B15-6B32-AC5A104FCE0A}" dt="2021-02-03T14:35:45.305" v="6"/>
        <pc:sldMkLst>
          <pc:docMk/>
          <pc:sldMk cId="1539570405" sldId="290"/>
        </pc:sldMkLst>
      </pc:sldChg>
      <pc:sldChg chg="modSp modNotes">
        <pc:chgData name="McLeod, Caroline" userId="S::cmcleod@greatdentalplans.com::43031ce9-49a3-4f5f-9207-5c83a33945f8" providerId="AD" clId="Web-{5E86274D-E192-1B15-6B32-AC5A104FCE0A}" dt="2021-02-03T14:54:39.454" v="96"/>
        <pc:sldMkLst>
          <pc:docMk/>
          <pc:sldMk cId="2432183697" sldId="291"/>
        </pc:sldMkLst>
        <pc:picChg chg="mod">
          <ac:chgData name="McLeod, Caroline" userId="S::cmcleod@greatdentalplans.com::43031ce9-49a3-4f5f-9207-5c83a33945f8" providerId="AD" clId="Web-{5E86274D-E192-1B15-6B32-AC5A104FCE0A}" dt="2021-02-03T12:59:56.356" v="5"/>
          <ac:picMkLst>
            <pc:docMk/>
            <pc:sldMk cId="2432183697" sldId="291"/>
            <ac:picMk id="5" creationId="{9241FB64-CC23-4E8E-8751-95E8226F01A0}"/>
          </ac:picMkLst>
        </pc:picChg>
        <pc:picChg chg="mod">
          <ac:chgData name="McLeod, Caroline" userId="S::cmcleod@greatdentalplans.com::43031ce9-49a3-4f5f-9207-5c83a33945f8" providerId="AD" clId="Web-{5E86274D-E192-1B15-6B32-AC5A104FCE0A}" dt="2021-02-03T12:59:39.153" v="2"/>
          <ac:picMkLst>
            <pc:docMk/>
            <pc:sldMk cId="2432183697" sldId="291"/>
            <ac:picMk id="6" creationId="{2EA2FAAA-08B2-4556-AC25-180BCF981BA9}"/>
          </ac:picMkLst>
        </pc:picChg>
      </pc:sldChg>
      <pc:sldChg chg="modNotes">
        <pc:chgData name="McLeod, Caroline" userId="S::cmcleod@greatdentalplans.com::43031ce9-49a3-4f5f-9207-5c83a33945f8" providerId="AD" clId="Web-{5E86274D-E192-1B15-6B32-AC5A104FCE0A}" dt="2021-02-03T14:54:35.626" v="95"/>
        <pc:sldMkLst>
          <pc:docMk/>
          <pc:sldMk cId="3127225944" sldId="292"/>
        </pc:sldMkLst>
      </pc:sldChg>
      <pc:sldChg chg="addSp delSp modSp new modNotes">
        <pc:chgData name="McLeod, Caroline" userId="S::cmcleod@greatdentalplans.com::43031ce9-49a3-4f5f-9207-5c83a33945f8" providerId="AD" clId="Web-{5E86274D-E192-1B15-6B32-AC5A104FCE0A}" dt="2021-02-03T18:47:15.387" v="866"/>
        <pc:sldMkLst>
          <pc:docMk/>
          <pc:sldMk cId="2359732605" sldId="293"/>
        </pc:sldMkLst>
        <pc:spChg chg="del">
          <ac:chgData name="McLeod, Caroline" userId="S::cmcleod@greatdentalplans.com::43031ce9-49a3-4f5f-9207-5c83a33945f8" providerId="AD" clId="Web-{5E86274D-E192-1B15-6B32-AC5A104FCE0A}" dt="2021-02-03T14:37:50.073" v="9"/>
          <ac:spMkLst>
            <pc:docMk/>
            <pc:sldMk cId="2359732605" sldId="293"/>
            <ac:spMk id="2" creationId="{AE2B87F8-DBA6-4B66-B27A-16790F186E49}"/>
          </ac:spMkLst>
        </pc:spChg>
        <pc:spChg chg="del">
          <ac:chgData name="McLeod, Caroline" userId="S::cmcleod@greatdentalplans.com::43031ce9-49a3-4f5f-9207-5c83a33945f8" providerId="AD" clId="Web-{5E86274D-E192-1B15-6B32-AC5A104FCE0A}" dt="2021-02-03T14:37:51.917" v="10"/>
          <ac:spMkLst>
            <pc:docMk/>
            <pc:sldMk cId="2359732605" sldId="293"/>
            <ac:spMk id="3" creationId="{EF0F1C7E-79AB-4E5A-9F53-7FB7652606F8}"/>
          </ac:spMkLst>
        </pc:spChg>
        <pc:spChg chg="mod">
          <ac:chgData name="McLeod, Caroline" userId="S::cmcleod@greatdentalplans.com::43031ce9-49a3-4f5f-9207-5c83a33945f8" providerId="AD" clId="Web-{5E86274D-E192-1B15-6B32-AC5A104FCE0A}" dt="2021-02-03T18:44:02.633" v="510" actId="20577"/>
          <ac:spMkLst>
            <pc:docMk/>
            <pc:sldMk cId="2359732605" sldId="293"/>
            <ac:spMk id="4" creationId="{7BE032E1-6CA7-4E02-A861-DDD4284B7D39}"/>
          </ac:spMkLst>
        </pc:spChg>
        <pc:picChg chg="add mod">
          <ac:chgData name="McLeod, Caroline" userId="S::cmcleod@greatdentalplans.com::43031ce9-49a3-4f5f-9207-5c83a33945f8" providerId="AD" clId="Web-{5E86274D-E192-1B15-6B32-AC5A104FCE0A}" dt="2021-02-03T18:43:56.930" v="503" actId="1076"/>
          <ac:picMkLst>
            <pc:docMk/>
            <pc:sldMk cId="2359732605" sldId="293"/>
            <ac:picMk id="7" creationId="{02205C26-7384-4817-8B59-56C5865A5A06}"/>
          </ac:picMkLst>
        </pc:picChg>
      </pc:sldChg>
      <pc:sldChg chg="delSp add replId delAnim">
        <pc:chgData name="McLeod, Caroline" userId="S::cmcleod@greatdentalplans.com::43031ce9-49a3-4f5f-9207-5c83a33945f8" providerId="AD" clId="Web-{5E86274D-E192-1B15-6B32-AC5A104FCE0A}" dt="2021-02-03T14:41:11.859" v="27"/>
        <pc:sldMkLst>
          <pc:docMk/>
          <pc:sldMk cId="1032135914" sldId="294"/>
        </pc:sldMkLst>
        <pc:spChg chg="del">
          <ac:chgData name="McLeod, Caroline" userId="S::cmcleod@greatdentalplans.com::43031ce9-49a3-4f5f-9207-5c83a33945f8" providerId="AD" clId="Web-{5E86274D-E192-1B15-6B32-AC5A104FCE0A}" dt="2021-02-03T14:41:09.359" v="26"/>
          <ac:spMkLst>
            <pc:docMk/>
            <pc:sldMk cId="1032135914" sldId="294"/>
            <ac:spMk id="7" creationId="{71E99223-A065-4690-B96C-81FE0EDF3AFD}"/>
          </ac:spMkLst>
        </pc:spChg>
        <pc:spChg chg="del">
          <ac:chgData name="McLeod, Caroline" userId="S::cmcleod@greatdentalplans.com::43031ce9-49a3-4f5f-9207-5c83a33945f8" providerId="AD" clId="Web-{5E86274D-E192-1B15-6B32-AC5A104FCE0A}" dt="2021-02-03T14:41:09.359" v="25"/>
          <ac:spMkLst>
            <pc:docMk/>
            <pc:sldMk cId="1032135914" sldId="294"/>
            <ac:spMk id="11" creationId="{2C7C828B-D372-4F5A-BC81-6EFB63B31F33}"/>
          </ac:spMkLst>
        </pc:spChg>
        <pc:spChg chg="del">
          <ac:chgData name="McLeod, Caroline" userId="S::cmcleod@greatdentalplans.com::43031ce9-49a3-4f5f-9207-5c83a33945f8" providerId="AD" clId="Web-{5E86274D-E192-1B15-6B32-AC5A104FCE0A}" dt="2021-02-03T14:41:09.359" v="24"/>
          <ac:spMkLst>
            <pc:docMk/>
            <pc:sldMk cId="1032135914" sldId="294"/>
            <ac:spMk id="12" creationId="{13A21C6E-95D2-4A80-9D86-E72DE5DF1DCC}"/>
          </ac:spMkLst>
        </pc:spChg>
        <pc:spChg chg="del">
          <ac:chgData name="McLeod, Caroline" userId="S::cmcleod@greatdentalplans.com::43031ce9-49a3-4f5f-9207-5c83a33945f8" providerId="AD" clId="Web-{5E86274D-E192-1B15-6B32-AC5A104FCE0A}" dt="2021-02-03T14:41:09.359" v="23"/>
          <ac:spMkLst>
            <pc:docMk/>
            <pc:sldMk cId="1032135914" sldId="294"/>
            <ac:spMk id="13" creationId="{529BB0ED-8A29-4667-9D53-D0708A4E42E8}"/>
          </ac:spMkLst>
        </pc:spChg>
        <pc:spChg chg="del">
          <ac:chgData name="McLeod, Caroline" userId="S::cmcleod@greatdentalplans.com::43031ce9-49a3-4f5f-9207-5c83a33945f8" providerId="AD" clId="Web-{5E86274D-E192-1B15-6B32-AC5A104FCE0A}" dt="2021-02-03T14:41:09.343" v="22"/>
          <ac:spMkLst>
            <pc:docMk/>
            <pc:sldMk cId="1032135914" sldId="294"/>
            <ac:spMk id="14" creationId="{2AF95A4B-97C5-4D50-B641-57B3552E9029}"/>
          </ac:spMkLst>
        </pc:spChg>
        <pc:cxnChg chg="del">
          <ac:chgData name="McLeod, Caroline" userId="S::cmcleod@greatdentalplans.com::43031ce9-49a3-4f5f-9207-5c83a33945f8" providerId="AD" clId="Web-{5E86274D-E192-1B15-6B32-AC5A104FCE0A}" dt="2021-02-03T14:41:09.343" v="21"/>
          <ac:cxnSpMkLst>
            <pc:docMk/>
            <pc:sldMk cId="1032135914" sldId="294"/>
            <ac:cxnSpMk id="28" creationId="{56180A23-A740-4683-94DC-052BE1A5A3E8}"/>
          </ac:cxnSpMkLst>
        </pc:cxnChg>
        <pc:cxnChg chg="del">
          <ac:chgData name="McLeod, Caroline" userId="S::cmcleod@greatdentalplans.com::43031ce9-49a3-4f5f-9207-5c83a33945f8" providerId="AD" clId="Web-{5E86274D-E192-1B15-6B32-AC5A104FCE0A}" dt="2021-02-03T14:41:09.343" v="20"/>
          <ac:cxnSpMkLst>
            <pc:docMk/>
            <pc:sldMk cId="1032135914" sldId="294"/>
            <ac:cxnSpMk id="30" creationId="{85367D22-2377-4D04-86C2-E9733D8D5859}"/>
          </ac:cxnSpMkLst>
        </pc:cxnChg>
        <pc:cxnChg chg="del">
          <ac:chgData name="McLeod, Caroline" userId="S::cmcleod@greatdentalplans.com::43031ce9-49a3-4f5f-9207-5c83a33945f8" providerId="AD" clId="Web-{5E86274D-E192-1B15-6B32-AC5A104FCE0A}" dt="2021-02-03T14:41:11.859" v="27"/>
          <ac:cxnSpMkLst>
            <pc:docMk/>
            <pc:sldMk cId="1032135914" sldId="294"/>
            <ac:cxnSpMk id="31" creationId="{8C4C2D64-1B78-4783-B8B3-3F0F7116EC01}"/>
          </ac:cxnSpMkLst>
        </pc:cxnChg>
      </pc:sldChg>
      <pc:sldChg chg="new del">
        <pc:chgData name="McLeod, Caroline" userId="S::cmcleod@greatdentalplans.com::43031ce9-49a3-4f5f-9207-5c83a33945f8" providerId="AD" clId="Web-{5E86274D-E192-1B15-6B32-AC5A104FCE0A}" dt="2021-02-03T14:39:23.919" v="14"/>
        <pc:sldMkLst>
          <pc:docMk/>
          <pc:sldMk cId="3873850179" sldId="294"/>
        </pc:sldMkLst>
      </pc:sldChg>
      <pc:sldChg chg="addSp delSp modSp add replId">
        <pc:chgData name="McLeod, Caroline" userId="S::cmcleod@greatdentalplans.com::43031ce9-49a3-4f5f-9207-5c83a33945f8" providerId="AD" clId="Web-{5E86274D-E192-1B15-6B32-AC5A104FCE0A}" dt="2021-02-03T18:41:34.958" v="316" actId="1076"/>
        <pc:sldMkLst>
          <pc:docMk/>
          <pc:sldMk cId="3765382948" sldId="295"/>
        </pc:sldMkLst>
        <pc:spChg chg="mod">
          <ac:chgData name="McLeod, Caroline" userId="S::cmcleod@greatdentalplans.com::43031ce9-49a3-4f5f-9207-5c83a33945f8" providerId="AD" clId="Web-{5E86274D-E192-1B15-6B32-AC5A104FCE0A}" dt="2021-02-03T18:38:41.876" v="274" actId="20577"/>
          <ac:spMkLst>
            <pc:docMk/>
            <pc:sldMk cId="3765382948" sldId="295"/>
            <ac:spMk id="2" creationId="{E034392D-753F-440A-8DE4-6C170094B792}"/>
          </ac:spMkLst>
        </pc:spChg>
        <pc:spChg chg="mod">
          <ac:chgData name="McLeod, Caroline" userId="S::cmcleod@greatdentalplans.com::43031ce9-49a3-4f5f-9207-5c83a33945f8" providerId="AD" clId="Web-{5E86274D-E192-1B15-6B32-AC5A104FCE0A}" dt="2021-02-03T18:39:51.737" v="285" actId="20577"/>
          <ac:spMkLst>
            <pc:docMk/>
            <pc:sldMk cId="3765382948" sldId="295"/>
            <ac:spMk id="3" creationId="{E2C15854-EBCB-420B-A63A-EEE5C8094E4E}"/>
          </ac:spMkLst>
        </pc:spChg>
        <pc:spChg chg="del">
          <ac:chgData name="McLeod, Caroline" userId="S::cmcleod@greatdentalplans.com::43031ce9-49a3-4f5f-9207-5c83a33945f8" providerId="AD" clId="Web-{5E86274D-E192-1B15-6B32-AC5A104FCE0A}" dt="2021-02-03T18:38:03.328" v="258"/>
          <ac:spMkLst>
            <pc:docMk/>
            <pc:sldMk cId="3765382948" sldId="295"/>
            <ac:spMk id="4" creationId="{8E08DF82-6F1A-410F-97D0-98FA39F74B5F}"/>
          </ac:spMkLst>
        </pc:spChg>
        <pc:spChg chg="add mod">
          <ac:chgData name="McLeod, Caroline" userId="S::cmcleod@greatdentalplans.com::43031ce9-49a3-4f5f-9207-5c83a33945f8" providerId="AD" clId="Web-{5E86274D-E192-1B15-6B32-AC5A104FCE0A}" dt="2021-02-03T18:38:30.454" v="268" actId="1076"/>
          <ac:spMkLst>
            <pc:docMk/>
            <pc:sldMk cId="3765382948" sldId="295"/>
            <ac:spMk id="6" creationId="{9BE2F00D-CAA1-46EF-8C67-BFF8B2020878}"/>
          </ac:spMkLst>
        </pc:spChg>
        <pc:spChg chg="add del mod">
          <ac:chgData name="McLeod, Caroline" userId="S::cmcleod@greatdentalplans.com::43031ce9-49a3-4f5f-9207-5c83a33945f8" providerId="AD" clId="Web-{5E86274D-E192-1B15-6B32-AC5A104FCE0A}" dt="2021-02-03T18:41:30.973" v="314"/>
          <ac:spMkLst>
            <pc:docMk/>
            <pc:sldMk cId="3765382948" sldId="295"/>
            <ac:spMk id="13" creationId="{A1B19501-0797-491E-9873-264EF6F9E90F}"/>
          </ac:spMkLst>
        </pc:spChg>
        <pc:picChg chg="add mod modCrop">
          <ac:chgData name="McLeod, Caroline" userId="S::cmcleod@greatdentalplans.com::43031ce9-49a3-4f5f-9207-5c83a33945f8" providerId="AD" clId="Web-{5E86274D-E192-1B15-6B32-AC5A104FCE0A}" dt="2021-02-03T18:41:34.958" v="316" actId="1076"/>
          <ac:picMkLst>
            <pc:docMk/>
            <pc:sldMk cId="3765382948" sldId="295"/>
            <ac:picMk id="7" creationId="{AE6E3F89-94F7-4211-BEDA-89FB45BB6C53}"/>
          </ac:picMkLst>
        </pc:picChg>
        <pc:picChg chg="add del mod">
          <ac:chgData name="McLeod, Caroline" userId="S::cmcleod@greatdentalplans.com::43031ce9-49a3-4f5f-9207-5c83a33945f8" providerId="AD" clId="Web-{5E86274D-E192-1B15-6B32-AC5A104FCE0A}" dt="2021-02-03T18:41:30.989" v="315"/>
          <ac:picMkLst>
            <pc:docMk/>
            <pc:sldMk cId="3765382948" sldId="295"/>
            <ac:picMk id="9" creationId="{2027FCCD-9213-41C0-BB3C-19B79833F86E}"/>
          </ac:picMkLst>
        </pc:picChg>
        <pc:picChg chg="add del mod">
          <ac:chgData name="McLeod, Caroline" userId="S::cmcleod@greatdentalplans.com::43031ce9-49a3-4f5f-9207-5c83a33945f8" providerId="AD" clId="Web-{5E86274D-E192-1B15-6B32-AC5A104FCE0A}" dt="2021-02-03T18:41:27.223" v="312"/>
          <ac:picMkLst>
            <pc:docMk/>
            <pc:sldMk cId="3765382948" sldId="295"/>
            <ac:picMk id="11" creationId="{7E8DBDFD-765B-487C-AC09-C69BFF86864F}"/>
          </ac:picMkLst>
        </pc:picChg>
        <pc:picChg chg="add del mod">
          <ac:chgData name="McLeod, Caroline" userId="S::cmcleod@greatdentalplans.com::43031ce9-49a3-4f5f-9207-5c83a33945f8" providerId="AD" clId="Web-{5E86274D-E192-1B15-6B32-AC5A104FCE0A}" dt="2021-02-03T18:41:30.973" v="313"/>
          <ac:picMkLst>
            <pc:docMk/>
            <pc:sldMk cId="3765382948" sldId="295"/>
            <ac:picMk id="15" creationId="{1D8FE281-63DF-434B-9595-E7C29380419D}"/>
          </ac:picMkLst>
        </pc:picChg>
      </pc:sldChg>
      <pc:sldChg chg="new del">
        <pc:chgData name="McLeod, Caroline" userId="S::cmcleod@greatdentalplans.com::43031ce9-49a3-4f5f-9207-5c83a33945f8" providerId="AD" clId="Web-{5E86274D-E192-1B15-6B32-AC5A104FCE0A}" dt="2021-02-03T18:31:05.851" v="161"/>
        <pc:sldMkLst>
          <pc:docMk/>
          <pc:sldMk cId="3810314498" sldId="295"/>
        </pc:sldMkLst>
      </pc:sldChg>
      <pc:sldChg chg="modSp new">
        <pc:chgData name="McLeod, Caroline" userId="S::cmcleod@greatdentalplans.com::43031ce9-49a3-4f5f-9207-5c83a33945f8" providerId="AD" clId="Web-{5E86274D-E192-1B15-6B32-AC5A104FCE0A}" dt="2021-02-03T18:33:57.854" v="246" actId="20577"/>
        <pc:sldMkLst>
          <pc:docMk/>
          <pc:sldMk cId="4246495997" sldId="296"/>
        </pc:sldMkLst>
        <pc:spChg chg="mod">
          <ac:chgData name="McLeod, Caroline" userId="S::cmcleod@greatdentalplans.com::43031ce9-49a3-4f5f-9207-5c83a33945f8" providerId="AD" clId="Web-{5E86274D-E192-1B15-6B32-AC5A104FCE0A}" dt="2021-02-03T18:33:57.854" v="246" actId="20577"/>
          <ac:spMkLst>
            <pc:docMk/>
            <pc:sldMk cId="4246495997" sldId="296"/>
            <ac:spMk id="2" creationId="{28BA8BD2-6808-4DF4-820F-10E72FF1198B}"/>
          </ac:spMkLst>
        </pc:spChg>
      </pc:sldChg>
    </pc:docChg>
  </pc:docChgLst>
  <pc:docChgLst>
    <pc:chgData name="McLeod, Caroline" userId="S::cmcleod@greatdentalplans.com::43031ce9-49a3-4f5f-9207-5c83a33945f8" providerId="AD" clId="Web-{95FF13A9-2DFE-8224-01E1-44397DF47636}"/>
    <pc:docChg chg="modSld">
      <pc:chgData name="McLeod, Caroline" userId="S::cmcleod@greatdentalplans.com::43031ce9-49a3-4f5f-9207-5c83a33945f8" providerId="AD" clId="Web-{95FF13A9-2DFE-8224-01E1-44397DF47636}" dt="2021-01-28T23:39:05.298" v="160"/>
      <pc:docMkLst>
        <pc:docMk/>
      </pc:docMkLst>
      <pc:sldChg chg="modNotes">
        <pc:chgData name="McLeod, Caroline" userId="S::cmcleod@greatdentalplans.com::43031ce9-49a3-4f5f-9207-5c83a33945f8" providerId="AD" clId="Web-{95FF13A9-2DFE-8224-01E1-44397DF47636}" dt="2021-01-28T23:39:05.298" v="160"/>
        <pc:sldMkLst>
          <pc:docMk/>
          <pc:sldMk cId="2153171638" sldId="277"/>
        </pc:sldMkLst>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A$1</c:f>
              <c:strCache>
                <c:ptCount val="1"/>
                <c:pt idx="0">
                  <c:v>Column1</c:v>
                </c:pt>
              </c:strCache>
            </c:strRef>
          </c:tx>
          <c:spPr>
            <a:ln w="25400">
              <a:solidFill>
                <a:schemeClr val="accent1"/>
              </a:solidFill>
            </a:ln>
          </c:spPr>
          <c:dPt>
            <c:idx val="0"/>
            <c:bubble3D val="0"/>
            <c:spPr>
              <a:solidFill>
                <a:schemeClr val="accent1"/>
              </a:solidFill>
              <a:ln w="25400">
                <a:solidFill>
                  <a:schemeClr val="accent1"/>
                </a:solidFill>
              </a:ln>
              <a:effectLst/>
            </c:spPr>
            <c:extLst>
              <c:ext xmlns:c16="http://schemas.microsoft.com/office/drawing/2014/chart" uri="{C3380CC4-5D6E-409C-BE32-E72D297353CC}">
                <c16:uniqueId val="{00000001-E630-2846-8CA4-0A92AFE5B0DB}"/>
              </c:ext>
            </c:extLst>
          </c:dPt>
          <c:dPt>
            <c:idx val="1"/>
            <c:bubble3D val="0"/>
            <c:spPr>
              <a:solidFill>
                <a:schemeClr val="bg1"/>
              </a:solidFill>
              <a:ln w="25400">
                <a:solidFill>
                  <a:schemeClr val="accent1"/>
                </a:solidFill>
              </a:ln>
              <a:effectLst/>
            </c:spPr>
            <c:extLst>
              <c:ext xmlns:c16="http://schemas.microsoft.com/office/drawing/2014/chart" uri="{C3380CC4-5D6E-409C-BE32-E72D297353CC}">
                <c16:uniqueId val="{00000003-E630-2846-8CA4-0A92AFE5B0DB}"/>
              </c:ext>
            </c:extLst>
          </c:dPt>
          <c:val>
            <c:numRef>
              <c:f>Sheet1!$A$2:$A$3</c:f>
              <c:numCache>
                <c:formatCode>General</c:formatCode>
                <c:ptCount val="2"/>
                <c:pt idx="0">
                  <c:v>65</c:v>
                </c:pt>
                <c:pt idx="1">
                  <c:v>35</c:v>
                </c:pt>
              </c:numCache>
            </c:numRef>
          </c:val>
          <c:extLst>
            <c:ext xmlns:c16="http://schemas.microsoft.com/office/drawing/2014/chart" uri="{C3380CC4-5D6E-409C-BE32-E72D297353CC}">
              <c16:uniqueId val="{00000004-E630-2846-8CA4-0A92AFE5B0D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A$1</c:f>
              <c:strCache>
                <c:ptCount val="1"/>
                <c:pt idx="0">
                  <c:v>Column1</c:v>
                </c:pt>
              </c:strCache>
            </c:strRef>
          </c:tx>
          <c:spPr>
            <a:ln w="25400">
              <a:solidFill>
                <a:schemeClr val="accent1"/>
              </a:solidFill>
            </a:ln>
          </c:spPr>
          <c:dPt>
            <c:idx val="0"/>
            <c:bubble3D val="0"/>
            <c:spPr>
              <a:solidFill>
                <a:schemeClr val="accent2"/>
              </a:solidFill>
              <a:ln w="25400">
                <a:solidFill>
                  <a:schemeClr val="accent2"/>
                </a:solidFill>
              </a:ln>
              <a:effectLst/>
            </c:spPr>
            <c:extLst>
              <c:ext xmlns:c16="http://schemas.microsoft.com/office/drawing/2014/chart" uri="{C3380CC4-5D6E-409C-BE32-E72D297353CC}">
                <c16:uniqueId val="{00000001-E630-2846-8CA4-0A92AFE5B0DB}"/>
              </c:ext>
            </c:extLst>
          </c:dPt>
          <c:dPt>
            <c:idx val="1"/>
            <c:bubble3D val="0"/>
            <c:spPr>
              <a:solidFill>
                <a:schemeClr val="bg1"/>
              </a:solidFill>
              <a:ln w="25400">
                <a:solidFill>
                  <a:schemeClr val="accent2"/>
                </a:solidFill>
              </a:ln>
              <a:effectLst/>
            </c:spPr>
            <c:extLst>
              <c:ext xmlns:c16="http://schemas.microsoft.com/office/drawing/2014/chart" uri="{C3380CC4-5D6E-409C-BE32-E72D297353CC}">
                <c16:uniqueId val="{00000003-E630-2846-8CA4-0A92AFE5B0DB}"/>
              </c:ext>
            </c:extLst>
          </c:dPt>
          <c:val>
            <c:numRef>
              <c:f>Sheet1!$A$2:$A$3</c:f>
              <c:numCache>
                <c:formatCode>General</c:formatCode>
                <c:ptCount val="2"/>
                <c:pt idx="0">
                  <c:v>50</c:v>
                </c:pt>
                <c:pt idx="1">
                  <c:v>50</c:v>
                </c:pt>
              </c:numCache>
            </c:numRef>
          </c:val>
          <c:extLst>
            <c:ext xmlns:c16="http://schemas.microsoft.com/office/drawing/2014/chart" uri="{C3380CC4-5D6E-409C-BE32-E72D297353CC}">
              <c16:uniqueId val="{00000004-E630-2846-8CA4-0A92AFE5B0D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A$1</c:f>
              <c:strCache>
                <c:ptCount val="1"/>
                <c:pt idx="0">
                  <c:v>Column1</c:v>
                </c:pt>
              </c:strCache>
            </c:strRef>
          </c:tx>
          <c:spPr>
            <a:ln w="25400">
              <a:solidFill>
                <a:schemeClr val="accent1"/>
              </a:solidFill>
            </a:ln>
          </c:spPr>
          <c:dPt>
            <c:idx val="0"/>
            <c:bubble3D val="0"/>
            <c:spPr>
              <a:solidFill>
                <a:schemeClr val="accent3"/>
              </a:solidFill>
              <a:ln w="25400">
                <a:solidFill>
                  <a:schemeClr val="accent3"/>
                </a:solidFill>
              </a:ln>
              <a:effectLst/>
            </c:spPr>
            <c:extLst>
              <c:ext xmlns:c16="http://schemas.microsoft.com/office/drawing/2014/chart" uri="{C3380CC4-5D6E-409C-BE32-E72D297353CC}">
                <c16:uniqueId val="{00000001-E630-2846-8CA4-0A92AFE5B0DB}"/>
              </c:ext>
            </c:extLst>
          </c:dPt>
          <c:dPt>
            <c:idx val="1"/>
            <c:bubble3D val="0"/>
            <c:spPr>
              <a:solidFill>
                <a:schemeClr val="bg1"/>
              </a:solidFill>
              <a:ln w="25400">
                <a:solidFill>
                  <a:schemeClr val="accent3"/>
                </a:solidFill>
              </a:ln>
              <a:effectLst/>
            </c:spPr>
            <c:extLst>
              <c:ext xmlns:c16="http://schemas.microsoft.com/office/drawing/2014/chart" uri="{C3380CC4-5D6E-409C-BE32-E72D297353CC}">
                <c16:uniqueId val="{00000003-E630-2846-8CA4-0A92AFE5B0DB}"/>
              </c:ext>
            </c:extLst>
          </c:dPt>
          <c:val>
            <c:numRef>
              <c:f>Sheet1!$A$2:$A$3</c:f>
              <c:numCache>
                <c:formatCode>General</c:formatCode>
                <c:ptCount val="2"/>
                <c:pt idx="0">
                  <c:v>27</c:v>
                </c:pt>
                <c:pt idx="1">
                  <c:v>73</c:v>
                </c:pt>
              </c:numCache>
            </c:numRef>
          </c:val>
          <c:extLst>
            <c:ext xmlns:c16="http://schemas.microsoft.com/office/drawing/2014/chart" uri="{C3380CC4-5D6E-409C-BE32-E72D297353CC}">
              <c16:uniqueId val="{00000004-E630-2846-8CA4-0A92AFE5B0DB}"/>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8F1FCB6-A5F3-4698-8176-6D68FB2458A1}"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18DF75DA-8347-4F4C-BC8A-558F377A2164}">
      <dgm:prSet/>
      <dgm:spPr/>
      <dgm:t>
        <a:bodyPr/>
        <a:lstStyle/>
        <a:p>
          <a:r>
            <a:rPr lang="en-US" b="1"/>
            <a:t>T</a:t>
          </a:r>
          <a:endParaRPr lang="en-US"/>
        </a:p>
      </dgm:t>
    </dgm:pt>
    <dgm:pt modelId="{3CABD81B-91F3-4A05-9BA2-29BC8539082A}" type="parTrans" cxnId="{E0A04762-4F12-429B-BC72-503EA46CB398}">
      <dgm:prSet/>
      <dgm:spPr/>
      <dgm:t>
        <a:bodyPr/>
        <a:lstStyle/>
        <a:p>
          <a:endParaRPr lang="en-US"/>
        </a:p>
      </dgm:t>
    </dgm:pt>
    <dgm:pt modelId="{630F2095-44D7-4B57-B3C9-209DDD18B862}" type="sibTrans" cxnId="{E0A04762-4F12-429B-BC72-503EA46CB398}">
      <dgm:prSet/>
      <dgm:spPr/>
      <dgm:t>
        <a:bodyPr/>
        <a:lstStyle/>
        <a:p>
          <a:endParaRPr lang="en-US"/>
        </a:p>
      </dgm:t>
    </dgm:pt>
    <dgm:pt modelId="{4107607E-0E5A-49D8-AA1D-BF91CA867FDE}">
      <dgm:prSet/>
      <dgm:spPr/>
      <dgm:t>
        <a:bodyPr/>
        <a:lstStyle/>
        <a:p>
          <a:r>
            <a:rPr lang="en-US" b="1"/>
            <a:t>E</a:t>
          </a:r>
          <a:endParaRPr lang="en-US"/>
        </a:p>
      </dgm:t>
    </dgm:pt>
    <dgm:pt modelId="{5C8B53F4-CC5E-43B8-9864-6EFEFCF78D4D}" type="parTrans" cxnId="{3860DD1A-9C32-419E-95D7-AB3D7D97778D}">
      <dgm:prSet/>
      <dgm:spPr/>
      <dgm:t>
        <a:bodyPr/>
        <a:lstStyle/>
        <a:p>
          <a:endParaRPr lang="en-US"/>
        </a:p>
      </dgm:t>
    </dgm:pt>
    <dgm:pt modelId="{F9988FB3-B482-4513-BD6C-701A309FE382}" type="sibTrans" cxnId="{3860DD1A-9C32-419E-95D7-AB3D7D97778D}">
      <dgm:prSet/>
      <dgm:spPr/>
      <dgm:t>
        <a:bodyPr/>
        <a:lstStyle/>
        <a:p>
          <a:endParaRPr lang="en-US"/>
        </a:p>
      </dgm:t>
    </dgm:pt>
    <dgm:pt modelId="{690FF508-3E60-4856-88A7-90D31B7A896F}">
      <dgm:prSet/>
      <dgm:spPr/>
      <dgm:t>
        <a:bodyPr/>
        <a:lstStyle/>
        <a:p>
          <a:r>
            <a:rPr lang="en-US" b="1"/>
            <a:t>A</a:t>
          </a:r>
          <a:endParaRPr lang="en-US"/>
        </a:p>
      </dgm:t>
    </dgm:pt>
    <dgm:pt modelId="{5287D3F5-9D6C-4078-88D7-86D4BFB50259}" type="parTrans" cxnId="{54FC6181-52E9-43BF-91E1-611FEB40EEAD}">
      <dgm:prSet/>
      <dgm:spPr/>
      <dgm:t>
        <a:bodyPr/>
        <a:lstStyle/>
        <a:p>
          <a:endParaRPr lang="en-US"/>
        </a:p>
      </dgm:t>
    </dgm:pt>
    <dgm:pt modelId="{F7AB45E0-48B7-497F-9036-F3313A35A703}" type="sibTrans" cxnId="{54FC6181-52E9-43BF-91E1-611FEB40EEAD}">
      <dgm:prSet/>
      <dgm:spPr/>
      <dgm:t>
        <a:bodyPr/>
        <a:lstStyle/>
        <a:p>
          <a:endParaRPr lang="en-US"/>
        </a:p>
      </dgm:t>
    </dgm:pt>
    <dgm:pt modelId="{F163799E-F0E1-4DA5-A2F1-B9FC15E6420D}">
      <dgm:prSet/>
      <dgm:spPr/>
      <dgm:t>
        <a:bodyPr/>
        <a:lstStyle/>
        <a:p>
          <a:r>
            <a:rPr lang="en-US" b="1"/>
            <a:t>C</a:t>
          </a:r>
          <a:endParaRPr lang="en-US"/>
        </a:p>
      </dgm:t>
    </dgm:pt>
    <dgm:pt modelId="{7E59CC03-6CA7-4F8A-8503-71FC881EAEE0}" type="parTrans" cxnId="{4C0CCC86-CE0D-4BF6-AC48-301CEE08A495}">
      <dgm:prSet/>
      <dgm:spPr/>
      <dgm:t>
        <a:bodyPr/>
        <a:lstStyle/>
        <a:p>
          <a:endParaRPr lang="en-US"/>
        </a:p>
      </dgm:t>
    </dgm:pt>
    <dgm:pt modelId="{E34EBB05-69EE-46AD-8DE3-0C2265F265D0}" type="sibTrans" cxnId="{4C0CCC86-CE0D-4BF6-AC48-301CEE08A495}">
      <dgm:prSet/>
      <dgm:spPr/>
      <dgm:t>
        <a:bodyPr/>
        <a:lstStyle/>
        <a:p>
          <a:endParaRPr lang="en-US"/>
        </a:p>
      </dgm:t>
    </dgm:pt>
    <dgm:pt modelId="{0E914396-DF88-492D-9CF7-802BED9DC84F}">
      <dgm:prSet/>
      <dgm:spPr/>
      <dgm:t>
        <a:bodyPr/>
        <a:lstStyle/>
        <a:p>
          <a:r>
            <a:rPr lang="en-US" b="1"/>
            <a:t>H</a:t>
          </a:r>
          <a:endParaRPr lang="en-US"/>
        </a:p>
      </dgm:t>
    </dgm:pt>
    <dgm:pt modelId="{047DDC86-9B43-483E-A82E-49DFAB3107EE}" type="parTrans" cxnId="{F3E9B318-246D-44F4-9C52-4F9B1D631F6A}">
      <dgm:prSet/>
      <dgm:spPr/>
      <dgm:t>
        <a:bodyPr/>
        <a:lstStyle/>
        <a:p>
          <a:endParaRPr lang="en-US"/>
        </a:p>
      </dgm:t>
    </dgm:pt>
    <dgm:pt modelId="{9BC07928-17A2-4D3E-AEEB-F5EC1531F1DE}" type="sibTrans" cxnId="{F3E9B318-246D-44F4-9C52-4F9B1D631F6A}">
      <dgm:prSet/>
      <dgm:spPr/>
      <dgm:t>
        <a:bodyPr/>
        <a:lstStyle/>
        <a:p>
          <a:endParaRPr lang="en-US"/>
        </a:p>
      </dgm:t>
    </dgm:pt>
    <dgm:pt modelId="{169F3D73-6C20-4028-9BD2-DDA4FED3498A}" type="pres">
      <dgm:prSet presAssocID="{08F1FCB6-A5F3-4698-8176-6D68FB2458A1}" presName="linear" presStyleCnt="0">
        <dgm:presLayoutVars>
          <dgm:animLvl val="lvl"/>
          <dgm:resizeHandles val="exact"/>
        </dgm:presLayoutVars>
      </dgm:prSet>
      <dgm:spPr/>
    </dgm:pt>
    <dgm:pt modelId="{AAE0784D-65A5-4605-8571-8A96E065FCF1}" type="pres">
      <dgm:prSet presAssocID="{18DF75DA-8347-4F4C-BC8A-558F377A2164}" presName="parentText" presStyleLbl="node1" presStyleIdx="0" presStyleCnt="5">
        <dgm:presLayoutVars>
          <dgm:chMax val="0"/>
          <dgm:bulletEnabled val="1"/>
        </dgm:presLayoutVars>
      </dgm:prSet>
      <dgm:spPr/>
    </dgm:pt>
    <dgm:pt modelId="{9DDF9B74-EEED-4F48-B91F-9F10E8D47C3B}" type="pres">
      <dgm:prSet presAssocID="{630F2095-44D7-4B57-B3C9-209DDD18B862}" presName="spacer" presStyleCnt="0"/>
      <dgm:spPr/>
    </dgm:pt>
    <dgm:pt modelId="{6F5461E9-EC8B-48F2-9A87-5F58C1F654EB}" type="pres">
      <dgm:prSet presAssocID="{4107607E-0E5A-49D8-AA1D-BF91CA867FDE}" presName="parentText" presStyleLbl="node1" presStyleIdx="1" presStyleCnt="5">
        <dgm:presLayoutVars>
          <dgm:chMax val="0"/>
          <dgm:bulletEnabled val="1"/>
        </dgm:presLayoutVars>
      </dgm:prSet>
      <dgm:spPr/>
    </dgm:pt>
    <dgm:pt modelId="{59E68941-1E46-49E9-AEBA-BB176FB7C29F}" type="pres">
      <dgm:prSet presAssocID="{F9988FB3-B482-4513-BD6C-701A309FE382}" presName="spacer" presStyleCnt="0"/>
      <dgm:spPr/>
    </dgm:pt>
    <dgm:pt modelId="{121C1FAA-6F26-429C-AA4E-D57D97442691}" type="pres">
      <dgm:prSet presAssocID="{690FF508-3E60-4856-88A7-90D31B7A896F}" presName="parentText" presStyleLbl="node1" presStyleIdx="2" presStyleCnt="5">
        <dgm:presLayoutVars>
          <dgm:chMax val="0"/>
          <dgm:bulletEnabled val="1"/>
        </dgm:presLayoutVars>
      </dgm:prSet>
      <dgm:spPr/>
    </dgm:pt>
    <dgm:pt modelId="{7AEF1CF7-994C-4979-9D91-939F60DD62C5}" type="pres">
      <dgm:prSet presAssocID="{F7AB45E0-48B7-497F-9036-F3313A35A703}" presName="spacer" presStyleCnt="0"/>
      <dgm:spPr/>
    </dgm:pt>
    <dgm:pt modelId="{CCE70113-BE97-406E-AFFD-EFB3D6884C3A}" type="pres">
      <dgm:prSet presAssocID="{F163799E-F0E1-4DA5-A2F1-B9FC15E6420D}" presName="parentText" presStyleLbl="node1" presStyleIdx="3" presStyleCnt="5">
        <dgm:presLayoutVars>
          <dgm:chMax val="0"/>
          <dgm:bulletEnabled val="1"/>
        </dgm:presLayoutVars>
      </dgm:prSet>
      <dgm:spPr/>
    </dgm:pt>
    <dgm:pt modelId="{1EB2BF30-91CA-427A-9633-7504D374CCD3}" type="pres">
      <dgm:prSet presAssocID="{E34EBB05-69EE-46AD-8DE3-0C2265F265D0}" presName="spacer" presStyleCnt="0"/>
      <dgm:spPr/>
    </dgm:pt>
    <dgm:pt modelId="{281C8564-F097-4307-8B9E-EFFFC0091C71}" type="pres">
      <dgm:prSet presAssocID="{0E914396-DF88-492D-9CF7-802BED9DC84F}" presName="parentText" presStyleLbl="node1" presStyleIdx="4" presStyleCnt="5">
        <dgm:presLayoutVars>
          <dgm:chMax val="0"/>
          <dgm:bulletEnabled val="1"/>
        </dgm:presLayoutVars>
      </dgm:prSet>
      <dgm:spPr/>
    </dgm:pt>
  </dgm:ptLst>
  <dgm:cxnLst>
    <dgm:cxn modelId="{1420D707-0A9B-400D-B7F9-8E47CE40C74B}" type="presOf" srcId="{0E914396-DF88-492D-9CF7-802BED9DC84F}" destId="{281C8564-F097-4307-8B9E-EFFFC0091C71}" srcOrd="0" destOrd="0" presId="urn:microsoft.com/office/officeart/2005/8/layout/vList2"/>
    <dgm:cxn modelId="{F3E9B318-246D-44F4-9C52-4F9B1D631F6A}" srcId="{08F1FCB6-A5F3-4698-8176-6D68FB2458A1}" destId="{0E914396-DF88-492D-9CF7-802BED9DC84F}" srcOrd="4" destOrd="0" parTransId="{047DDC86-9B43-483E-A82E-49DFAB3107EE}" sibTransId="{9BC07928-17A2-4D3E-AEEB-F5EC1531F1DE}"/>
    <dgm:cxn modelId="{3860DD1A-9C32-419E-95D7-AB3D7D97778D}" srcId="{08F1FCB6-A5F3-4698-8176-6D68FB2458A1}" destId="{4107607E-0E5A-49D8-AA1D-BF91CA867FDE}" srcOrd="1" destOrd="0" parTransId="{5C8B53F4-CC5E-43B8-9864-6EFEFCF78D4D}" sibTransId="{F9988FB3-B482-4513-BD6C-701A309FE382}"/>
    <dgm:cxn modelId="{89ED4831-C71A-4A4A-BD6F-02823DC8BE3C}" type="presOf" srcId="{4107607E-0E5A-49D8-AA1D-BF91CA867FDE}" destId="{6F5461E9-EC8B-48F2-9A87-5F58C1F654EB}" srcOrd="0" destOrd="0" presId="urn:microsoft.com/office/officeart/2005/8/layout/vList2"/>
    <dgm:cxn modelId="{E0A04762-4F12-429B-BC72-503EA46CB398}" srcId="{08F1FCB6-A5F3-4698-8176-6D68FB2458A1}" destId="{18DF75DA-8347-4F4C-BC8A-558F377A2164}" srcOrd="0" destOrd="0" parTransId="{3CABD81B-91F3-4A05-9BA2-29BC8539082A}" sibTransId="{630F2095-44D7-4B57-B3C9-209DDD18B862}"/>
    <dgm:cxn modelId="{7AF1AD54-1DDA-470C-9278-5EBCED3EE819}" type="presOf" srcId="{08F1FCB6-A5F3-4698-8176-6D68FB2458A1}" destId="{169F3D73-6C20-4028-9BD2-DDA4FED3498A}" srcOrd="0" destOrd="0" presId="urn:microsoft.com/office/officeart/2005/8/layout/vList2"/>
    <dgm:cxn modelId="{78A29A55-53D0-48DB-918C-6080C8E1457C}" type="presOf" srcId="{690FF508-3E60-4856-88A7-90D31B7A896F}" destId="{121C1FAA-6F26-429C-AA4E-D57D97442691}" srcOrd="0" destOrd="0" presId="urn:microsoft.com/office/officeart/2005/8/layout/vList2"/>
    <dgm:cxn modelId="{54FC6181-52E9-43BF-91E1-611FEB40EEAD}" srcId="{08F1FCB6-A5F3-4698-8176-6D68FB2458A1}" destId="{690FF508-3E60-4856-88A7-90D31B7A896F}" srcOrd="2" destOrd="0" parTransId="{5287D3F5-9D6C-4078-88D7-86D4BFB50259}" sibTransId="{F7AB45E0-48B7-497F-9036-F3313A35A703}"/>
    <dgm:cxn modelId="{4C0CCC86-CE0D-4BF6-AC48-301CEE08A495}" srcId="{08F1FCB6-A5F3-4698-8176-6D68FB2458A1}" destId="{F163799E-F0E1-4DA5-A2F1-B9FC15E6420D}" srcOrd="3" destOrd="0" parTransId="{7E59CC03-6CA7-4F8A-8503-71FC881EAEE0}" sibTransId="{E34EBB05-69EE-46AD-8DE3-0C2265F265D0}"/>
    <dgm:cxn modelId="{71273B88-CEC6-48C3-A146-B102A5D6C0DE}" type="presOf" srcId="{F163799E-F0E1-4DA5-A2F1-B9FC15E6420D}" destId="{CCE70113-BE97-406E-AFFD-EFB3D6884C3A}" srcOrd="0" destOrd="0" presId="urn:microsoft.com/office/officeart/2005/8/layout/vList2"/>
    <dgm:cxn modelId="{ADB7068B-A2FE-43FF-B2C0-92A4492C1FD3}" type="presOf" srcId="{18DF75DA-8347-4F4C-BC8A-558F377A2164}" destId="{AAE0784D-65A5-4605-8571-8A96E065FCF1}" srcOrd="0" destOrd="0" presId="urn:microsoft.com/office/officeart/2005/8/layout/vList2"/>
    <dgm:cxn modelId="{F1D42DBF-6502-44A4-9FA9-02395729B29D}" type="presParOf" srcId="{169F3D73-6C20-4028-9BD2-DDA4FED3498A}" destId="{AAE0784D-65A5-4605-8571-8A96E065FCF1}" srcOrd="0" destOrd="0" presId="urn:microsoft.com/office/officeart/2005/8/layout/vList2"/>
    <dgm:cxn modelId="{86B7E2C2-D573-4A97-B5FA-70BC260FD56A}" type="presParOf" srcId="{169F3D73-6C20-4028-9BD2-DDA4FED3498A}" destId="{9DDF9B74-EEED-4F48-B91F-9F10E8D47C3B}" srcOrd="1" destOrd="0" presId="urn:microsoft.com/office/officeart/2005/8/layout/vList2"/>
    <dgm:cxn modelId="{84FE7D34-2E9B-4232-88B7-6CFE1D959C71}" type="presParOf" srcId="{169F3D73-6C20-4028-9BD2-DDA4FED3498A}" destId="{6F5461E9-EC8B-48F2-9A87-5F58C1F654EB}" srcOrd="2" destOrd="0" presId="urn:microsoft.com/office/officeart/2005/8/layout/vList2"/>
    <dgm:cxn modelId="{78124D68-61D8-4B74-80EE-645DC68C2D78}" type="presParOf" srcId="{169F3D73-6C20-4028-9BD2-DDA4FED3498A}" destId="{59E68941-1E46-49E9-AEBA-BB176FB7C29F}" srcOrd="3" destOrd="0" presId="urn:microsoft.com/office/officeart/2005/8/layout/vList2"/>
    <dgm:cxn modelId="{691071A7-038F-4255-9FD5-F455FAA23659}" type="presParOf" srcId="{169F3D73-6C20-4028-9BD2-DDA4FED3498A}" destId="{121C1FAA-6F26-429C-AA4E-D57D97442691}" srcOrd="4" destOrd="0" presId="urn:microsoft.com/office/officeart/2005/8/layout/vList2"/>
    <dgm:cxn modelId="{827E559B-2F2B-415E-9264-795F19BD0FD8}" type="presParOf" srcId="{169F3D73-6C20-4028-9BD2-DDA4FED3498A}" destId="{7AEF1CF7-994C-4979-9D91-939F60DD62C5}" srcOrd="5" destOrd="0" presId="urn:microsoft.com/office/officeart/2005/8/layout/vList2"/>
    <dgm:cxn modelId="{84193C0D-DA6E-44BA-B774-03A7E605A87B}" type="presParOf" srcId="{169F3D73-6C20-4028-9BD2-DDA4FED3498A}" destId="{CCE70113-BE97-406E-AFFD-EFB3D6884C3A}" srcOrd="6" destOrd="0" presId="urn:microsoft.com/office/officeart/2005/8/layout/vList2"/>
    <dgm:cxn modelId="{4C4844E9-AA2F-448E-B3D5-4363519E5C9F}" type="presParOf" srcId="{169F3D73-6C20-4028-9BD2-DDA4FED3498A}" destId="{1EB2BF30-91CA-427A-9633-7504D374CCD3}" srcOrd="7" destOrd="0" presId="urn:microsoft.com/office/officeart/2005/8/layout/vList2"/>
    <dgm:cxn modelId="{28C32871-1FF1-4C46-B0B1-0626F181D3FB}" type="presParOf" srcId="{169F3D73-6C20-4028-9BD2-DDA4FED3498A}" destId="{281C8564-F097-4307-8B9E-EFFFC0091C71}" srcOrd="8"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AE0784D-65A5-4605-8571-8A96E065FCF1}">
      <dsp:nvSpPr>
        <dsp:cNvPr id="0" name=""/>
        <dsp:cNvSpPr/>
      </dsp:nvSpPr>
      <dsp:spPr>
        <a:xfrm>
          <a:off x="0" y="25410"/>
          <a:ext cx="1761515" cy="865800"/>
        </a:xfrm>
        <a:prstGeom prst="round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1" kern="1200"/>
            <a:t>T</a:t>
          </a:r>
          <a:endParaRPr lang="en-US" sz="3700" kern="1200"/>
        </a:p>
      </dsp:txBody>
      <dsp:txXfrm>
        <a:off x="42265" y="67675"/>
        <a:ext cx="1676985" cy="781270"/>
      </dsp:txXfrm>
    </dsp:sp>
    <dsp:sp modelId="{6F5461E9-EC8B-48F2-9A87-5F58C1F654EB}">
      <dsp:nvSpPr>
        <dsp:cNvPr id="0" name=""/>
        <dsp:cNvSpPr/>
      </dsp:nvSpPr>
      <dsp:spPr>
        <a:xfrm>
          <a:off x="0" y="997771"/>
          <a:ext cx="1761515" cy="865800"/>
        </a:xfrm>
        <a:prstGeom prst="round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1" kern="1200"/>
            <a:t>E</a:t>
          </a:r>
          <a:endParaRPr lang="en-US" sz="3700" kern="1200"/>
        </a:p>
      </dsp:txBody>
      <dsp:txXfrm>
        <a:off x="42265" y="1040036"/>
        <a:ext cx="1676985" cy="781270"/>
      </dsp:txXfrm>
    </dsp:sp>
    <dsp:sp modelId="{121C1FAA-6F26-429C-AA4E-D57D97442691}">
      <dsp:nvSpPr>
        <dsp:cNvPr id="0" name=""/>
        <dsp:cNvSpPr/>
      </dsp:nvSpPr>
      <dsp:spPr>
        <a:xfrm>
          <a:off x="0" y="1970131"/>
          <a:ext cx="1761515" cy="865800"/>
        </a:xfrm>
        <a:prstGeom prst="round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1" kern="1200"/>
            <a:t>A</a:t>
          </a:r>
          <a:endParaRPr lang="en-US" sz="3700" kern="1200"/>
        </a:p>
      </dsp:txBody>
      <dsp:txXfrm>
        <a:off x="42265" y="2012396"/>
        <a:ext cx="1676985" cy="781270"/>
      </dsp:txXfrm>
    </dsp:sp>
    <dsp:sp modelId="{CCE70113-BE97-406E-AFFD-EFB3D6884C3A}">
      <dsp:nvSpPr>
        <dsp:cNvPr id="0" name=""/>
        <dsp:cNvSpPr/>
      </dsp:nvSpPr>
      <dsp:spPr>
        <a:xfrm>
          <a:off x="0" y="2942491"/>
          <a:ext cx="1761515" cy="865800"/>
        </a:xfrm>
        <a:prstGeom prst="roundRect">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1" kern="1200"/>
            <a:t>C</a:t>
          </a:r>
          <a:endParaRPr lang="en-US" sz="3700" kern="1200"/>
        </a:p>
      </dsp:txBody>
      <dsp:txXfrm>
        <a:off x="42265" y="2984756"/>
        <a:ext cx="1676985" cy="781270"/>
      </dsp:txXfrm>
    </dsp:sp>
    <dsp:sp modelId="{281C8564-F097-4307-8B9E-EFFFC0091C71}">
      <dsp:nvSpPr>
        <dsp:cNvPr id="0" name=""/>
        <dsp:cNvSpPr/>
      </dsp:nvSpPr>
      <dsp:spPr>
        <a:xfrm>
          <a:off x="0" y="3914851"/>
          <a:ext cx="1761515" cy="86580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0970" tIns="140970" rIns="140970" bIns="140970" numCol="1" spcCol="1270" anchor="ctr" anchorCtr="0">
          <a:noAutofit/>
        </a:bodyPr>
        <a:lstStyle/>
        <a:p>
          <a:pPr marL="0" lvl="0" indent="0" algn="l" defTabSz="1644650">
            <a:lnSpc>
              <a:spcPct val="90000"/>
            </a:lnSpc>
            <a:spcBef>
              <a:spcPct val="0"/>
            </a:spcBef>
            <a:spcAft>
              <a:spcPct val="35000"/>
            </a:spcAft>
            <a:buNone/>
          </a:pPr>
          <a:r>
            <a:rPr lang="en-US" sz="3700" b="1" kern="1200"/>
            <a:t>H</a:t>
          </a:r>
          <a:endParaRPr lang="en-US" sz="3700" kern="1200"/>
        </a:p>
      </dsp:txBody>
      <dsp:txXfrm>
        <a:off x="42265" y="3957116"/>
        <a:ext cx="1676985" cy="78127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4FD4776-3590-48CF-9B2B-C37DE70ABBCE}" type="datetimeFigureOut">
              <a:rPr lang="en-US"/>
              <a:t>2/10/2021</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AFBCBED-EE19-4117-8936-72A313F22DCB}" type="slidenum">
              <a:rPr lang="en-US"/>
              <a:t>‹#›</a:t>
            </a:fld>
            <a:endParaRPr lang="en-US"/>
          </a:p>
        </p:txBody>
      </p:sp>
    </p:spTree>
    <p:extLst>
      <p:ext uri="{BB962C8B-B14F-4D97-AF65-F5344CB8AC3E}">
        <p14:creationId xmlns:p14="http://schemas.microsoft.com/office/powerpoint/2010/main" val="344577380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www.hhs.gov/hipaa/for-professionals/special-topics/emergency-preparedness/notification-enforcement-discretion-telehealth/index.html" TargetMode="External"/><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3" Type="http://schemas.openxmlformats.org/officeDocument/2006/relationships/hyperlink" Target="https://success.ada.org/~/media/CPS/Files/COVID/ADA_COVID_Coding_and_Billing_Guidance.pdf" TargetMode="External"/><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9FD720D-581E-458B-9EED-64A468C9FF7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865990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dirty="0"/>
              <a:t>The beginning of the workflow describes use of teledentistry for emergency care, which has become more widely used in dentistry since the pandemic started.</a:t>
            </a:r>
          </a:p>
          <a:p>
            <a:pPr marL="0" indent="0"/>
            <a:endParaRPr lang="en-US" dirty="0"/>
          </a:p>
          <a:p>
            <a:r>
              <a:rPr lang="en-US" dirty="0"/>
              <a:t>Initiating a </a:t>
            </a:r>
            <a:r>
              <a:rPr lang="en-US" dirty="0" err="1"/>
              <a:t>teledental</a:t>
            </a:r>
            <a:r>
              <a:rPr lang="en-US" dirty="0"/>
              <a:t> visit to screen/assess/triage an emergency does involve the entire dental team. If we look at the first step, the</a:t>
            </a:r>
            <a:r>
              <a:rPr lang="en-US" dirty="0">
                <a:cs typeface="Calibri"/>
              </a:rPr>
              <a:t> front office staff can field the patient’s emergency concerns via email, phone call or practice website (which is teledentistry, using available technology to facilitate dental care) and then determine if the patient is eligible for a virtual visit with the dental provider. </a:t>
            </a:r>
          </a:p>
          <a:p>
            <a:endParaRPr lang="en-US" dirty="0">
              <a:cs typeface="Calibri"/>
            </a:endParaRPr>
          </a:p>
          <a:p>
            <a:r>
              <a:rPr lang="en-US" dirty="0">
                <a:cs typeface="Calibri"/>
              </a:rPr>
              <a:t>The office staff may also collect photos from the patient of the problem area and put them in the patient’s chart to assist the dentist in the first steps of triage. They can also set up the dentist or dental hygienist’s schedule with virtual appointments and link to a video call with the patient ahead of time. Front office staff are key to efficient use of teledentistry and lessen the burden on the dental clinician.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12</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9750898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s exemplified in room 3, the dental provider can then review the patients record, including past records and any photos or notes collected by the front office staff to prepare for the virtual appointment with the patient.</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13</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3666713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The provider can then initiate contact with the patient via asynchronous methods such as text messaging or email or synchronous methods such as a video or phone call. As is exemplified in rooms 3 and 4, this remote appointment will allow the provider to triage the patient's need and make a decision about their care. </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14</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5462599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Now comes a critical part in the workflow. The pink diamond represents a decision point for the provider. Based on the information they have collected they will decide whether the patient's need can be treated remotely with a prescription, oral hygiene instructions or counseling, or if the patient must come into the office for follow-up treatment. If they do need to come into the office, the benefit to using teledentistry is that a large portion of the exam is already complete and the patient will spend less time in your office when they come in. Additionally, during a virtual appointment, the patient is able to speak comfortably with you, without all your PPE on, which is a stark contrast to the reality of a dental office during the pandemic.</a:t>
            </a:r>
            <a:endParaRPr lang="en-US" dirty="0"/>
          </a:p>
          <a:p>
            <a:endParaRPr lang="en-US" dirty="0"/>
          </a:p>
          <a:p>
            <a:r>
              <a:rPr lang="en-US" dirty="0"/>
              <a:t>This entire workflow allows you to triage patient's needs in a manner that is easy and comfortable to them and minimizes exposure risk.</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15</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5537709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dirty="0"/>
              <a:t>Next we’ll talk through how this workflow incorporates preventive care</a:t>
            </a:r>
          </a:p>
          <a:p>
            <a:pPr marL="0" indent="0"/>
            <a:endParaRPr lang="en-US" dirty="0"/>
          </a:p>
          <a:p>
            <a:pPr marL="0" indent="0"/>
            <a:r>
              <a:rPr lang="en-US" dirty="0"/>
              <a:t>After making a decision that the patient does not need to come into the office and their need can be taken care of remotely or at a later time, it is vital to engage them in preventive activities to keep them healthy.</a:t>
            </a:r>
          </a:p>
          <a:p>
            <a:pPr marL="0" indent="0"/>
            <a:endParaRPr lang="en-US" dirty="0"/>
          </a:p>
          <a:p>
            <a:pPr marL="0" indent="0"/>
            <a:r>
              <a:rPr lang="en-US" dirty="0"/>
              <a:t>Keeping focus on rooms 3 and 4, </a:t>
            </a:r>
            <a:r>
              <a:rPr lang="en-US" dirty="0" err="1"/>
              <a:t>eledentistry</a:t>
            </a:r>
            <a:r>
              <a:rPr lang="en-US" dirty="0"/>
              <a:t> can help you do this! For example, dentists and dental hygienists can engage the patient in a caries risk assessment, self-management goals and patient education. This can be done through a simple video chat with the patient. Even when doing preventive visits, it is vital to engage your front office staff in scheduling and billing to reduce provider burden.</a:t>
            </a:r>
          </a:p>
          <a:p>
            <a:pPr marL="0" indent="0"/>
            <a:endParaRPr lang="en-US" dirty="0"/>
          </a:p>
          <a:p>
            <a:pPr marL="0" indent="0"/>
            <a:r>
              <a:rPr lang="en-US" dirty="0"/>
              <a:t>I want to take a second to think a little more broadly about preventive care. CMS and the WHOs highly recommend prioritization of prevention during the pandemic to help reduce the development of disease. Thinking about the patient populations you see in the Job Corps clinics, these first two steps of the workflow can be used with your identified high-risk patients and routinely engage the them in their care plan to prevent disease and emergency between in-person visits. Because these preventive appointments take place remotely, they are convenient and accessible to the patient and minimize exposure risk. </a:t>
            </a:r>
          </a:p>
          <a:p>
            <a:pPr marL="0" indent="0"/>
            <a:endParaRPr lang="en-US" dirty="0"/>
          </a:p>
          <a:p>
            <a:pPr marL="0" indent="0"/>
            <a:endParaRPr lang="en-US" dirty="0"/>
          </a:p>
          <a:p>
            <a:pPr marL="0" indent="0"/>
            <a:endParaRPr lang="en-US" dirty="0"/>
          </a:p>
          <a:p>
            <a:pPr marL="0" indent="0"/>
            <a:endParaRPr lang="en-US" dirty="0"/>
          </a:p>
          <a:p>
            <a:pPr marL="0" indent="0"/>
            <a:r>
              <a:rPr lang="en-US" dirty="0"/>
              <a:t>j</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16</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62039586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health Center in Washington launched a series of virtual classes on family oral hygiene to teach families with young children how to take care of their oral health during the pandemic. The dental team sent oral hygiene kits to patients’ homes with toothbrushes, toothpaste, and floss and gave kids OHI via live-video teledentistry since they were unable to come to the dentist due to the pandemic.</a:t>
            </a:r>
          </a:p>
          <a:p>
            <a:endParaRPr lang="en-US"/>
          </a:p>
          <a:p>
            <a:r>
              <a:rPr lang="en-US"/>
              <a:t>Additionally, the dentists there work this OHI into teledentistry visits with patients that are at high caries risk, those who are immunocompromised or patients with a disability.; Teledentistry is a good way to reach high-risk patients to prevent disease; Could be a good check-in tool between hygiene visits for these patient populations.</a:t>
            </a:r>
          </a:p>
        </p:txBody>
      </p:sp>
      <p:sp>
        <p:nvSpPr>
          <p:cNvPr id="4" name="Slide Number Placeholder 3"/>
          <p:cNvSpPr>
            <a:spLocks noGrp="1"/>
          </p:cNvSpPr>
          <p:nvPr>
            <p:ph type="sldNum" sz="quarter" idx="5"/>
          </p:nvPr>
        </p:nvSpPr>
        <p:spPr/>
        <p:txBody>
          <a:bodyPr/>
          <a:lstStyle/>
          <a:p>
            <a:fld id="{AAFBCBED-EE19-4117-8936-72A313F22DCB}" type="slidenum">
              <a:rPr lang="en-US"/>
              <a:t>17</a:t>
            </a:fld>
            <a:endParaRPr lang="en-US"/>
          </a:p>
        </p:txBody>
      </p:sp>
    </p:spTree>
    <p:extLst>
      <p:ext uri="{BB962C8B-B14F-4D97-AF65-F5344CB8AC3E}">
        <p14:creationId xmlns:p14="http://schemas.microsoft.com/office/powerpoint/2010/main" val="35753659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a:t>If you have made the determination that the patient does need to come into the office for care, you can still engage them in preventive services provided via teledentistry during the period of time between the initial triage and their in-office appointment. Additionally, having collected patient information and triaging their needs via teledentistry, the in-office appointment will be shorter in duration. This again minimizes exposure risk for the patient and providers as well as frees up chair time to see more patients.</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18</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420922651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dirty="0"/>
              <a:t>When the patient comes to the office for their visit, as you can see in room 2 and room 5, we encourage you to choose minimally-invasive or low aerosol-producing procedures where possible. This minimizes your exposure risk and keeps everyone safe.</a:t>
            </a:r>
          </a:p>
          <a:p>
            <a:pPr marL="0" indent="0"/>
            <a:endParaRPr lang="en-US" dirty="0"/>
          </a:p>
          <a:p>
            <a:pPr marL="0" indent="0"/>
            <a:r>
              <a:rPr lang="en-US" dirty="0"/>
              <a:t>After treating the patients needs in-person, if the patient does need a referral, you can choose to use teledentistry to do a live-video consultation or even a warm handoff with the provider that will accept the referral. This minimizes exposure risk but more importantly aids in continuity of care for the patient. </a:t>
            </a:r>
          </a:p>
          <a:p>
            <a:pPr marL="0" indent="0"/>
            <a:endParaRPr lang="en-US" dirty="0"/>
          </a:p>
          <a:p>
            <a:pPr marL="0" indent="0"/>
            <a:r>
              <a:rPr lang="en-US" dirty="0"/>
              <a:t>Additionally, follow-up oral health care also be done via teledentistry. This includes office staff scheduling via phone call or asynchronous messaging, provider follow-up of a healing site via photographs or live video call and even those preventive care options we walked through.</a:t>
            </a:r>
          </a:p>
          <a:p>
            <a:pPr marL="0" indent="0"/>
            <a:endParaRPr lang="en-US" dirty="0"/>
          </a:p>
          <a:p>
            <a:pPr marL="0" indent="0"/>
            <a:endParaRPr lang="en-US" dirty="0"/>
          </a:p>
          <a:p>
            <a:pPr marL="0" indent="0"/>
            <a:endParaRPr lang="en-US" dirty="0"/>
          </a:p>
          <a:p>
            <a:pPr marL="0" indent="0"/>
            <a:r>
              <a:rPr lang="en-US" dirty="0"/>
              <a:t>j</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19</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1035750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r>
              <a:rPr lang="en-US" dirty="0"/>
              <a:t>Since we have looked at this workflow in pieces, I wanted to show the entire thing again to make sure we have the big picture of how your office can treat a patient’s needs using teledentistry. I also want to raise the point that teledentistry is not a one-size fits all model where every office will use it in the same ways. Your state regulations and physical office or staffing circumstances dictate how you customize a teledentistry workflow to fit your office needs. </a:t>
            </a:r>
          </a:p>
          <a:p>
            <a:pPr marL="0" indent="0"/>
            <a:endParaRPr lang="en-US" dirty="0"/>
          </a:p>
          <a:p>
            <a:pPr marL="0" indent="0"/>
            <a:r>
              <a:rPr lang="en-US" dirty="0"/>
              <a:t>Further, I think it is important to remember that as you get started using teledentistry there will definitely be </a:t>
            </a:r>
            <a:r>
              <a:rPr lang="en-US" dirty="0" err="1"/>
              <a:t>hickups</a:t>
            </a:r>
            <a:r>
              <a:rPr lang="en-US" dirty="0"/>
              <a:t> because learning how to provide the care you all are experts on virtually is a learned skill. It takes time to learn the skills of remote care but we encourage you to push yourselves past what you are already good at and adopt teledentistry to improve the experience and health outcomes of your patients</a:t>
            </a:r>
          </a:p>
        </p:txBody>
      </p:sp>
      <p:sp>
        <p:nvSpPr>
          <p:cNvPr id="4" name="Slide Number Placeholder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1200" b="0" i="0" u="none" strike="noStrike" cap="none">
                <a:solidFill>
                  <a:schemeClr val="dk1"/>
                </a:solidFill>
                <a:latin typeface="Calibri"/>
                <a:ea typeface="Calibri"/>
                <a:cs typeface="Calibri"/>
                <a:sym typeface="Calibri"/>
              </a:rPr>
              <a:t>20</a:t>
            </a:fld>
            <a:endParaRPr lang="en-US" sz="1200" b="0" i="0" u="none" strike="noStrike" cap="none">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18964945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04975" y="0"/>
            <a:ext cx="3694113" cy="2079625"/>
          </a:xfrm>
        </p:spPr>
      </p:sp>
      <p:sp>
        <p:nvSpPr>
          <p:cNvPr id="3" name="Notes Placeholder 2"/>
          <p:cNvSpPr>
            <a:spLocks noGrp="1"/>
          </p:cNvSpPr>
          <p:nvPr>
            <p:ph type="body" idx="1"/>
          </p:nvPr>
        </p:nvSpPr>
        <p:spPr>
          <a:xfrm>
            <a:off x="1" y="2088861"/>
            <a:ext cx="6823828" cy="786260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err="1">
                <a:cs typeface="Calibri"/>
              </a:rPr>
              <a:t>Webex</a:t>
            </a:r>
            <a:r>
              <a:rPr lang="en-US" dirty="0">
                <a:cs typeface="Calibri"/>
              </a:rPr>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cs typeface="Calibri"/>
              </a:rPr>
              <a:t>-</a:t>
            </a:r>
            <a:r>
              <a:rPr lang="en-US" dirty="0" err="1">
                <a:cs typeface="Calibri"/>
              </a:rPr>
              <a:t>Webex</a:t>
            </a:r>
            <a:r>
              <a:rPr lang="en-US" dirty="0">
                <a:cs typeface="Calibri"/>
              </a:rPr>
              <a:t> could be used primarily for synchronous, or live, video calls with a patient to triage their needs, engage them in personalized preventive care or follow-up after a in-office visit. For example, the front office staff could schedule a video call for a provider and patient. Then the patient and provider could both join the room in </a:t>
            </a:r>
            <a:r>
              <a:rPr lang="en-US" dirty="0" err="1">
                <a:cs typeface="Calibri"/>
              </a:rPr>
              <a:t>webex</a:t>
            </a:r>
            <a:r>
              <a:rPr lang="en-US" dirty="0">
                <a:cs typeface="Calibri"/>
              </a:rPr>
              <a:t> for the call when it’s time for it on the schedule.</a:t>
            </a:r>
          </a:p>
          <a:p>
            <a:endParaRPr lang="en-US" dirty="0">
              <a:cs typeface="Calibri"/>
            </a:endParaRPr>
          </a:p>
          <a:p>
            <a:r>
              <a:rPr lang="en-US" dirty="0">
                <a:cs typeface="Calibri"/>
              </a:rPr>
              <a:t>Google classroom</a:t>
            </a:r>
          </a:p>
          <a:p>
            <a:r>
              <a:rPr lang="en-US" dirty="0">
                <a:cs typeface="Calibri"/>
              </a:rPr>
              <a:t>-Looks like g-suite (drive, docs, etc.), so if you are familiar with those, google classroom should be an easy transition</a:t>
            </a:r>
          </a:p>
          <a:p>
            <a:r>
              <a:rPr lang="en-US" dirty="0">
                <a:cs typeface="Calibri"/>
              </a:rPr>
              <a:t>-The “classroom” is equivalent to a dental office. Staff and providers are “teachers/admins”  and patients as “students”</a:t>
            </a:r>
          </a:p>
          <a:p>
            <a:endParaRPr lang="en-US" dirty="0">
              <a:cs typeface="Calibri"/>
            </a:endParaRPr>
          </a:p>
          <a:p>
            <a:r>
              <a:rPr lang="en-US" dirty="0">
                <a:cs typeface="Calibri"/>
              </a:rPr>
              <a:t>-Because the program was designed to function for groups of people, we recommend that you use it for group education---- you can send messages, posts, and attachments of educational materials to groups of patients and asynchronously interact with them for group learning. Great for engaging patients in some of the preventive aspects of the workflow like OHI or self management goals.</a:t>
            </a:r>
          </a:p>
          <a:p>
            <a:endParaRPr lang="en-US" dirty="0">
              <a:cs typeface="Calibri"/>
            </a:endParaRPr>
          </a:p>
          <a:p>
            <a:r>
              <a:rPr lang="en-US" dirty="0">
                <a:cs typeface="Calibri"/>
              </a:rPr>
              <a:t>Additionally, you can send messages to individual patients and treat the platform as an asynchronous messaging forum to collect patient information such as chief complaint or photos to aid you in the workflow we just talked about! I know google has a video-call software as well and it may be able to link to classroom.</a:t>
            </a:r>
          </a:p>
          <a:p>
            <a:endParaRPr lang="en-US" dirty="0">
              <a:cs typeface="Calibri"/>
            </a:endParaRPr>
          </a:p>
          <a:p>
            <a:endParaRPr lang="en-US" dirty="0">
              <a:latin typeface="Calibre" panose="020B0503030202060203"/>
            </a:endParaRPr>
          </a:p>
        </p:txBody>
      </p:sp>
    </p:spTree>
    <p:extLst>
      <p:ext uri="{BB962C8B-B14F-4D97-AF65-F5344CB8AC3E}">
        <p14:creationId xmlns:p14="http://schemas.microsoft.com/office/powerpoint/2010/main" val="29123602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AAFBCBED-EE19-4117-8936-72A313F22DCB}" type="slidenum">
              <a:rPr lang="en-US"/>
              <a:t>2</a:t>
            </a:fld>
            <a:endParaRPr lang="en-US"/>
          </a:p>
        </p:txBody>
      </p:sp>
    </p:spTree>
    <p:extLst>
      <p:ext uri="{BB962C8B-B14F-4D97-AF65-F5344CB8AC3E}">
        <p14:creationId xmlns:p14="http://schemas.microsoft.com/office/powerpoint/2010/main" val="263329597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err="1"/>
              <a:t>Webex</a:t>
            </a:r>
            <a:r>
              <a:rPr lang="en-US"/>
              <a:t>, G-Suite and Doxy.me all advertise that they provide HIPAA-compliant video communication products and that they will enter into a HIPAA BAA according to the Department of Health and Human Services. </a:t>
            </a:r>
            <a:r>
              <a:rPr lang="en-US">
                <a:hlinkClick r:id="rId3"/>
              </a:rPr>
              <a:t>Notification of Enforcement Discretion for Telehealth | HHS.gov</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cs typeface="Calibri"/>
              </a:rPr>
              <a:t>Chat question: </a:t>
            </a:r>
            <a:r>
              <a:rPr lang="en-US" sz="1200">
                <a:cs typeface="Arial"/>
              </a:rPr>
              <a:t>If you are familiar with these platforms, what ways can you see them being used to provide patient care?</a:t>
            </a:r>
          </a:p>
          <a:p>
            <a:r>
              <a:rPr lang="en-US">
                <a:cs typeface="Calibri"/>
              </a:rPr>
              <a:t>  -  </a:t>
            </a:r>
            <a:r>
              <a:rPr lang="en-US" err="1">
                <a:cs typeface="Calibri"/>
              </a:rPr>
              <a:t>Webex</a:t>
            </a:r>
            <a:r>
              <a:rPr lang="en-US">
                <a:cs typeface="Calibri"/>
              </a:rPr>
              <a:t>: video call consultations with referring providers </a:t>
            </a:r>
          </a:p>
          <a:p>
            <a:r>
              <a:rPr lang="en-US">
                <a:cs typeface="Calibri"/>
              </a:rPr>
              <a:t>  -  Exchange of patient case info with a referring provider via google classroom </a:t>
            </a:r>
          </a:p>
          <a:p>
            <a:endParaRPr lang="en-US"/>
          </a:p>
        </p:txBody>
      </p:sp>
      <p:sp>
        <p:nvSpPr>
          <p:cNvPr id="4" name="Slide Number Placeholder 3"/>
          <p:cNvSpPr>
            <a:spLocks noGrp="1"/>
          </p:cNvSpPr>
          <p:nvPr>
            <p:ph type="sldNum" sz="quarter" idx="5"/>
          </p:nvPr>
        </p:nvSpPr>
        <p:spPr/>
        <p:txBody>
          <a:bodyPr/>
          <a:lstStyle/>
          <a:p>
            <a:fld id="{AAFBCBED-EE19-4117-8936-72A313F22DCB}" type="slidenum">
              <a:rPr lang="en-US" smtClean="0"/>
              <a:t>22</a:t>
            </a:fld>
            <a:endParaRPr lang="en-US"/>
          </a:p>
        </p:txBody>
      </p:sp>
    </p:spTree>
    <p:extLst>
      <p:ext uri="{BB962C8B-B14F-4D97-AF65-F5344CB8AC3E}">
        <p14:creationId xmlns:p14="http://schemas.microsoft.com/office/powerpoint/2010/main" val="257626692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results on this slide come from a DentaQuest Partnership Survey designed to assess patients’ perceptions of their teledentistry experience</a:t>
            </a:r>
          </a:p>
          <a:p>
            <a:endParaRPr lang="en-US" dirty="0"/>
          </a:p>
          <a:p>
            <a:r>
              <a:rPr lang="en-US" dirty="0"/>
              <a:t>The DentaQuest Partnership conducted a survey of 111 patients (ages 18 and older) who had a synchronous </a:t>
            </a:r>
            <a:r>
              <a:rPr lang="en-US" dirty="0" err="1"/>
              <a:t>teledental</a:t>
            </a:r>
            <a:r>
              <a:rPr lang="en-US" dirty="0"/>
              <a:t> visit from an Advantage Dental provider in Oregon between April and May of 2020. </a:t>
            </a:r>
          </a:p>
          <a:p>
            <a:endParaRPr lang="en-US" dirty="0"/>
          </a:p>
          <a:p>
            <a:r>
              <a:rPr lang="en-US" dirty="0"/>
              <a:t>Read slide graphics, then bullets </a:t>
            </a:r>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FC9A91-10C5-9E4A-B343-E8CE9A6F0F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0084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FC9A91-10C5-9E4A-B343-E8CE9A6F0F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320362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CFC9A91-10C5-9E4A-B343-E8CE9A6F0F0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693798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ccording to those same patients, there are many uses for teledentistry!</a:t>
            </a:r>
          </a:p>
          <a:p>
            <a:endParaRPr lang="en-US" dirty="0"/>
          </a:p>
          <a:p>
            <a:r>
              <a:rPr lang="en-US" dirty="0"/>
              <a:t>We can build our telepresence with patients while using the technology for prevention, health promotion, diagnosis and risk assessment and preventive procedures in ADDITION to using teledentistry for triaging emergencies. – just liked we talked about in the workflow. Patients desire preventive care enabled by technology</a:t>
            </a:r>
          </a:p>
        </p:txBody>
      </p:sp>
      <p:sp>
        <p:nvSpPr>
          <p:cNvPr id="4" name="Slide Number Placeholder 3"/>
          <p:cNvSpPr>
            <a:spLocks noGrp="1"/>
          </p:cNvSpPr>
          <p:nvPr>
            <p:ph type="sldNum" sz="quarter" idx="5"/>
          </p:nvPr>
        </p:nvSpPr>
        <p:spPr/>
        <p:txBody>
          <a:bodyPr/>
          <a:lstStyle/>
          <a:p>
            <a:fld id="{BCFC9A91-10C5-9E4A-B343-E8CE9A6F0F06}" type="slidenum">
              <a:rPr lang="en-US" smtClean="0"/>
              <a:t>27</a:t>
            </a:fld>
            <a:endParaRPr lang="en-US"/>
          </a:p>
        </p:txBody>
      </p:sp>
    </p:spTree>
    <p:extLst>
      <p:ext uri="{BB962C8B-B14F-4D97-AF65-F5344CB8AC3E}">
        <p14:creationId xmlns:p14="http://schemas.microsoft.com/office/powerpoint/2010/main" val="38044002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B transtion </a:t>
            </a:r>
            <a:endParaRPr lang="en-US"/>
          </a:p>
        </p:txBody>
      </p:sp>
      <p:sp>
        <p:nvSpPr>
          <p:cNvPr id="4" name="Slide Number Placeholder 3"/>
          <p:cNvSpPr>
            <a:spLocks noGrp="1"/>
          </p:cNvSpPr>
          <p:nvPr>
            <p:ph type="sldNum" sz="quarter" idx="5"/>
          </p:nvPr>
        </p:nvSpPr>
        <p:spPr/>
        <p:txBody>
          <a:bodyPr/>
          <a:lstStyle/>
          <a:p>
            <a:fld id="{BCFC9A91-10C5-9E4A-B343-E8CE9A6F0F06}" type="slidenum">
              <a:rPr lang="en-US" smtClean="0"/>
              <a:t>28</a:t>
            </a:fld>
            <a:endParaRPr lang="en-US"/>
          </a:p>
        </p:txBody>
      </p:sp>
    </p:spTree>
    <p:extLst>
      <p:ext uri="{BB962C8B-B14F-4D97-AF65-F5344CB8AC3E}">
        <p14:creationId xmlns:p14="http://schemas.microsoft.com/office/powerpoint/2010/main" val="305882530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You can use the QR code to watch the full video </a:t>
            </a:r>
          </a:p>
        </p:txBody>
      </p:sp>
      <p:sp>
        <p:nvSpPr>
          <p:cNvPr id="4" name="Slide Number Placeholder 3"/>
          <p:cNvSpPr>
            <a:spLocks noGrp="1"/>
          </p:cNvSpPr>
          <p:nvPr>
            <p:ph type="sldNum" sz="quarter" idx="5"/>
          </p:nvPr>
        </p:nvSpPr>
        <p:spPr/>
        <p:txBody>
          <a:bodyPr/>
          <a:lstStyle/>
          <a:p>
            <a:fld id="{BCFC9A91-10C5-9E4A-B343-E8CE9A6F0F06}" type="slidenum">
              <a:rPr lang="en-US" smtClean="0"/>
              <a:t>29</a:t>
            </a:fld>
            <a:endParaRPr lang="en-US"/>
          </a:p>
        </p:txBody>
      </p:sp>
    </p:spTree>
    <p:extLst>
      <p:ext uri="{BB962C8B-B14F-4D97-AF65-F5344CB8AC3E}">
        <p14:creationId xmlns:p14="http://schemas.microsoft.com/office/powerpoint/2010/main" val="137512369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Here we have self-management goals for </a:t>
            </a:r>
            <a:r>
              <a:rPr lang="en-US" err="1">
                <a:cs typeface="Calibri"/>
              </a:rPr>
              <a:t>teledentistry</a:t>
            </a:r>
            <a:r>
              <a:rPr lang="en-US">
                <a:cs typeface="Calibri"/>
              </a:rPr>
              <a:t> that DQP has developed and will be available on the website. </a:t>
            </a:r>
            <a:endParaRPr lang="en-US"/>
          </a:p>
        </p:txBody>
      </p:sp>
      <p:sp>
        <p:nvSpPr>
          <p:cNvPr id="4" name="Slide Number Placeholder 3"/>
          <p:cNvSpPr>
            <a:spLocks noGrp="1"/>
          </p:cNvSpPr>
          <p:nvPr>
            <p:ph type="sldNum" sz="quarter" idx="5"/>
          </p:nvPr>
        </p:nvSpPr>
        <p:spPr/>
        <p:txBody>
          <a:bodyPr/>
          <a:lstStyle/>
          <a:p>
            <a:fld id="{BCFC9A91-10C5-9E4A-B343-E8CE9A6F0F06}" type="slidenum">
              <a:rPr lang="en-US" smtClean="0"/>
              <a:t>30</a:t>
            </a:fld>
            <a:endParaRPr lang="en-US"/>
          </a:p>
        </p:txBody>
      </p:sp>
    </p:spTree>
    <p:extLst>
      <p:ext uri="{BB962C8B-B14F-4D97-AF65-F5344CB8AC3E}">
        <p14:creationId xmlns:p14="http://schemas.microsoft.com/office/powerpoint/2010/main" val="185442728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Carolyn</a:t>
            </a:r>
          </a:p>
          <a:p>
            <a:endParaRPr lang="en-US"/>
          </a:p>
          <a:p>
            <a:r>
              <a:rPr lang="en-US"/>
              <a:t>Use green screens, virtual backgrounds to support your practice + practice logo, self-</a:t>
            </a:r>
            <a:r>
              <a:rPr lang="en-US" err="1"/>
              <a:t>mngt</a:t>
            </a:r>
            <a:r>
              <a:rPr lang="en-US"/>
              <a:t> or oral health education…. Here, I am speaking with a parent and child about a pea-sized amt of </a:t>
            </a:r>
            <a:r>
              <a:rPr lang="en-US" err="1"/>
              <a:t>fl</a:t>
            </a:r>
            <a:r>
              <a:rPr lang="en-US"/>
              <a:t> </a:t>
            </a:r>
            <a:r>
              <a:rPr lang="en-US" err="1"/>
              <a:t>tp</a:t>
            </a:r>
            <a:r>
              <a:rPr lang="en-US"/>
              <a:t>… change virtual backgrounds for diff patients, can also use green screens, health education props that you would use in the clinic. </a:t>
            </a:r>
            <a:endParaRPr lang="en-US">
              <a:cs typeface="Calibri"/>
            </a:endParaRPr>
          </a:p>
        </p:txBody>
      </p:sp>
      <p:sp>
        <p:nvSpPr>
          <p:cNvPr id="4" name="Slide Number Placeholder 3"/>
          <p:cNvSpPr>
            <a:spLocks noGrp="1"/>
          </p:cNvSpPr>
          <p:nvPr>
            <p:ph type="sldNum" sz="quarter" idx="5"/>
          </p:nvPr>
        </p:nvSpPr>
        <p:spPr/>
        <p:txBody>
          <a:bodyPr/>
          <a:lstStyle/>
          <a:p>
            <a:fld id="{BCFC9A91-10C5-9E4A-B343-E8CE9A6F0F06}" type="slidenum">
              <a:rPr lang="en-US" smtClean="0"/>
              <a:t>31</a:t>
            </a:fld>
            <a:endParaRPr lang="en-US"/>
          </a:p>
        </p:txBody>
      </p:sp>
    </p:spTree>
    <p:extLst>
      <p:ext uri="{BB962C8B-B14F-4D97-AF65-F5344CB8AC3E}">
        <p14:creationId xmlns:p14="http://schemas.microsoft.com/office/powerpoint/2010/main" val="238104529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hen coding for dental services provided through teledentistry, you must always include at least two codes.... </a:t>
            </a:r>
          </a:p>
          <a:p>
            <a:r>
              <a:rPr lang="en-US">
                <a:cs typeface="Calibri"/>
              </a:rPr>
              <a:t>- one must be the teledentistry modality you used whether that is synchronous (indicated by D9995) or a</a:t>
            </a:r>
            <a:r>
              <a:rPr lang="en-US"/>
              <a:t>synchronous (indicated by D9996)</a:t>
            </a:r>
            <a:endParaRPr lang="en-US">
              <a:cs typeface="Calibri"/>
            </a:endParaRPr>
          </a:p>
          <a:p>
            <a:r>
              <a:rPr lang="en-US">
                <a:cs typeface="Calibri"/>
              </a:rPr>
              <a:t>- the other must be the procedure code or codes of the services you provided during the teledentistry encounter. Thinking back to that workflow those could be an emergency exam code, an evaluation code or prevention cod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Refer to ADA </a:t>
            </a:r>
            <a:r>
              <a:rPr lang="en-US">
                <a:hlinkClick r:id="rId3"/>
              </a:rPr>
              <a:t>https://success.ada.org/~/media/CPS/Files/COVID/ADA_COVID_Coding_and_Billing_Guidance.pdf</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endParaRPr lang="en-US"/>
          </a:p>
        </p:txBody>
      </p:sp>
      <p:sp>
        <p:nvSpPr>
          <p:cNvPr id="4" name="Slide Number Placeholder 3"/>
          <p:cNvSpPr>
            <a:spLocks noGrp="1"/>
          </p:cNvSpPr>
          <p:nvPr>
            <p:ph type="sldNum" sz="quarter" idx="5"/>
          </p:nvPr>
        </p:nvSpPr>
        <p:spPr/>
        <p:txBody>
          <a:bodyPr/>
          <a:lstStyle/>
          <a:p>
            <a:fld id="{BCFC9A91-10C5-9E4A-B343-E8CE9A6F0F06}" type="slidenum">
              <a:rPr lang="en-US" smtClean="0"/>
              <a:t>34</a:t>
            </a:fld>
            <a:endParaRPr lang="en-US"/>
          </a:p>
        </p:txBody>
      </p:sp>
    </p:spTree>
    <p:extLst>
      <p:ext uri="{BB962C8B-B14F-4D97-AF65-F5344CB8AC3E}">
        <p14:creationId xmlns:p14="http://schemas.microsoft.com/office/powerpoint/2010/main" val="36345149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What comes to your mind when you think about </a:t>
            </a:r>
            <a:r>
              <a:rPr lang="en-US" err="1">
                <a:cs typeface="Calibri"/>
              </a:rPr>
              <a:t>teledentistry</a:t>
            </a:r>
            <a:r>
              <a:rPr lang="en-US">
                <a:cs typeface="Calibri"/>
              </a:rPr>
              <a:t>? It can be a word, phrase, definition.... put your answer in the chat!</a:t>
            </a:r>
          </a:p>
          <a:p>
            <a:endParaRPr lang="en-US">
              <a:cs typeface="Calibri"/>
            </a:endParaRPr>
          </a:p>
          <a:p>
            <a:r>
              <a:rPr lang="en-US">
                <a:cs typeface="Calibri"/>
              </a:rPr>
              <a:t>While you all are chatting, I wanted to let you know that there are a few places during the presentation where we have embedded QR codes that you can use to access some different resources. To prepare, we ask that you have your phone nearby and que up your QR code reader or the camera app...either will work to scan the QR codes!</a:t>
            </a:r>
          </a:p>
        </p:txBody>
      </p:sp>
      <p:sp>
        <p:nvSpPr>
          <p:cNvPr id="4" name="Slide Number Placeholder 3"/>
          <p:cNvSpPr>
            <a:spLocks noGrp="1"/>
          </p:cNvSpPr>
          <p:nvPr>
            <p:ph type="sldNum" sz="quarter" idx="5"/>
          </p:nvPr>
        </p:nvSpPr>
        <p:spPr/>
        <p:txBody>
          <a:bodyPr/>
          <a:lstStyle/>
          <a:p>
            <a:fld id="{AAFBCBED-EE19-4117-8936-72A313F22DCB}" type="slidenum">
              <a:rPr lang="en-US"/>
              <a:t>5</a:t>
            </a:fld>
            <a:endParaRPr lang="en-US"/>
          </a:p>
        </p:txBody>
      </p:sp>
    </p:spTree>
    <p:extLst>
      <p:ext uri="{BB962C8B-B14F-4D97-AF65-F5344CB8AC3E}">
        <p14:creationId xmlns:p14="http://schemas.microsoft.com/office/powerpoint/2010/main" val="409966739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The DentaQuest Partnership for Oral Health Advancement has a page dedicated to helping you put teledentistry into practice on our website. You can use the QR code to go directly to the website. There you will find all the resources we talked about today including the example workflows, virtual backgrounds, patient self-management goals and tip sheets.</a:t>
            </a:r>
          </a:p>
        </p:txBody>
      </p:sp>
      <p:sp>
        <p:nvSpPr>
          <p:cNvPr id="4" name="Slide Number Placeholder 3"/>
          <p:cNvSpPr>
            <a:spLocks noGrp="1"/>
          </p:cNvSpPr>
          <p:nvPr>
            <p:ph type="sldNum" sz="quarter" idx="5"/>
          </p:nvPr>
        </p:nvSpPr>
        <p:spPr/>
        <p:txBody>
          <a:bodyPr/>
          <a:lstStyle/>
          <a:p>
            <a:fld id="{AAFBCBED-EE19-4117-8936-72A313F22DCB}" type="slidenum">
              <a:rPr lang="en-US"/>
              <a:t>36</a:t>
            </a:fld>
            <a:endParaRPr lang="en-US"/>
          </a:p>
        </p:txBody>
      </p:sp>
    </p:spTree>
    <p:extLst>
      <p:ext uri="{BB962C8B-B14F-4D97-AF65-F5344CB8AC3E}">
        <p14:creationId xmlns:p14="http://schemas.microsoft.com/office/powerpoint/2010/main" val="33144097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 distinction I want to make is that teledentistry as a way to </a:t>
            </a:r>
            <a:r>
              <a:rPr lang="en-US" i="1" dirty="0"/>
              <a:t>enable</a:t>
            </a:r>
            <a:r>
              <a:rPr lang="en-US" dirty="0"/>
              <a:t> delivery of dental care, not the dental care itself. So not the screenings, exams, education, scheduling themselves… but when these services, amongst other services, are facilitated by technology they are considered teledentistry. And that is teledentistry. Over the course of the pandemic I think we’ve thrown around the term teledentistry in so many different ways that what it actually means can become confusing. </a:t>
            </a:r>
          </a:p>
          <a:p>
            <a:endParaRPr lang="en-US" dirty="0"/>
          </a:p>
          <a:p>
            <a:r>
              <a:rPr lang="en-US" i="1" dirty="0"/>
              <a:t>Teledentistry doesn’t take away from what practices are doing in-person, but enhances the services that you offer</a:t>
            </a:r>
            <a:endParaRPr lang="en-US" dirty="0"/>
          </a:p>
        </p:txBody>
      </p:sp>
      <p:sp>
        <p:nvSpPr>
          <p:cNvPr id="4" name="Slide Number Placeholder 3"/>
          <p:cNvSpPr>
            <a:spLocks noGrp="1"/>
          </p:cNvSpPr>
          <p:nvPr>
            <p:ph type="sldNum" sz="quarter" idx="5"/>
          </p:nvPr>
        </p:nvSpPr>
        <p:spPr/>
        <p:txBody>
          <a:bodyPr/>
          <a:lstStyle/>
          <a:p>
            <a:fld id="{AAFBCBED-EE19-4117-8936-72A313F22DCB}" type="slidenum">
              <a:rPr lang="en-US"/>
              <a:t>6</a:t>
            </a:fld>
            <a:endParaRPr lang="en-US"/>
          </a:p>
        </p:txBody>
      </p:sp>
    </p:spTree>
    <p:extLst>
      <p:ext uri="{BB962C8B-B14F-4D97-AF65-F5344CB8AC3E}">
        <p14:creationId xmlns:p14="http://schemas.microsoft.com/office/powerpoint/2010/main" val="635854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Live video (synchronous): Live, two-way interaction using audiovisual technology between two people (patient, caregiver, or providers)</a:t>
            </a:r>
          </a:p>
          <a:p>
            <a:endParaRPr lang="en-US" dirty="0"/>
          </a:p>
          <a:p>
            <a:r>
              <a:rPr lang="en-US" dirty="0"/>
              <a:t>Store-and-forward (asynchronous): Transmission of recorded health information (for example, radiographs, intraoral images, charting, digital impressions) electronically to a dentist or specialist, who uses the information to evaluate a patient’s condition in non-real time. </a:t>
            </a:r>
          </a:p>
          <a:p>
            <a:endParaRPr lang="en-US" dirty="0"/>
          </a:p>
          <a:p>
            <a:r>
              <a:rPr lang="en-US" dirty="0"/>
              <a:t>Remote patient monitoring (RPM): collection of personal health data from an individual in one location via electronic means, which is transmitted to a provider in a different location for use in a care plan (ex. An blue-tooth enabled electric toothbrush)</a:t>
            </a:r>
          </a:p>
          <a:p>
            <a:endParaRPr lang="en-US" dirty="0"/>
          </a:p>
          <a:p>
            <a:r>
              <a:rPr lang="en-US" dirty="0"/>
              <a:t>Mobile health (mHealth): Health care supported by mobile communication devices such as cell phones, tablets or computers</a:t>
            </a:r>
          </a:p>
        </p:txBody>
      </p:sp>
      <p:sp>
        <p:nvSpPr>
          <p:cNvPr id="4" name="Slide Number Placeholder 3"/>
          <p:cNvSpPr>
            <a:spLocks noGrp="1"/>
          </p:cNvSpPr>
          <p:nvPr>
            <p:ph type="sldNum" sz="quarter" idx="5"/>
          </p:nvPr>
        </p:nvSpPr>
        <p:spPr/>
        <p:txBody>
          <a:bodyPr/>
          <a:lstStyle/>
          <a:p>
            <a:fld id="{AAFBCBED-EE19-4117-8936-72A313F22DCB}" type="slidenum">
              <a:rPr lang="en-US"/>
              <a:t>7</a:t>
            </a:fld>
            <a:endParaRPr lang="en-US"/>
          </a:p>
        </p:txBody>
      </p:sp>
    </p:spTree>
    <p:extLst>
      <p:ext uri="{BB962C8B-B14F-4D97-AF65-F5344CB8AC3E}">
        <p14:creationId xmlns:p14="http://schemas.microsoft.com/office/powerpoint/2010/main" val="17943253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cause this audience is so diverse in terms of location, we want to mention a disclaimer that states have different parameters around the use of telehealth technology. Some states incorporate teledentistry under wider telehealth legislation and state Dental Boards have widely varying policies on scope of practice and expanded functions. Additionally, Medicaid reimbursement for teledentistry differs from state to state.</a:t>
            </a:r>
          </a:p>
          <a:p>
            <a:endParaRPr lang="en-US" dirty="0"/>
          </a:p>
          <a:p>
            <a:r>
              <a:rPr lang="en-US" dirty="0"/>
              <a:t>This interactive map made by the teledentistry company, </a:t>
            </a:r>
            <a:r>
              <a:rPr lang="en-US" dirty="0" err="1"/>
              <a:t>MouthWatch</a:t>
            </a:r>
            <a:r>
              <a:rPr lang="en-US" dirty="0"/>
              <a:t> is a quick reference guide to the status of teledentistry regulation in each U.S. state as part of asking those beginning regulatory questions. You can use the QR code on screen… scan it through the camera or QR reader on your phone and that will take you to the map. You can click on your state in the interactive map to find out what level of teledentistry regulations exist in your state, how different dental professionals may use teledentistry, if there is public coverage available for telehealth, and if payment parity laws in place. </a:t>
            </a:r>
            <a:endParaRPr lang="en-US" dirty="0">
              <a:cs typeface="Calibri"/>
            </a:endParaRPr>
          </a:p>
        </p:txBody>
      </p:sp>
      <p:sp>
        <p:nvSpPr>
          <p:cNvPr id="4" name="Slide Number Placeholder 3"/>
          <p:cNvSpPr>
            <a:spLocks noGrp="1"/>
          </p:cNvSpPr>
          <p:nvPr>
            <p:ph type="sldNum" sz="quarter" idx="5"/>
          </p:nvPr>
        </p:nvSpPr>
        <p:spPr/>
        <p:txBody>
          <a:bodyPr/>
          <a:lstStyle/>
          <a:p>
            <a:fld id="{AAFBCBED-EE19-4117-8936-72A313F22DCB}" type="slidenum">
              <a:rPr lang="en-US"/>
              <a:t>8</a:t>
            </a:fld>
            <a:endParaRPr lang="en-US"/>
          </a:p>
        </p:txBody>
      </p:sp>
    </p:spTree>
    <p:extLst>
      <p:ext uri="{BB962C8B-B14F-4D97-AF65-F5344CB8AC3E}">
        <p14:creationId xmlns:p14="http://schemas.microsoft.com/office/powerpoint/2010/main" val="213388659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Now that we're all on the same page about what teledentistry is, we want to go into some use cases for teledentistry and practical workflows to get you started in thinking how you will use the technology to enhance your delivery of oral health care.</a:t>
            </a:r>
          </a:p>
        </p:txBody>
      </p:sp>
      <p:sp>
        <p:nvSpPr>
          <p:cNvPr id="4" name="Slide Number Placeholder 3"/>
          <p:cNvSpPr>
            <a:spLocks noGrp="1"/>
          </p:cNvSpPr>
          <p:nvPr>
            <p:ph type="sldNum" sz="quarter" idx="5"/>
          </p:nvPr>
        </p:nvSpPr>
        <p:spPr/>
        <p:txBody>
          <a:bodyPr/>
          <a:lstStyle/>
          <a:p>
            <a:fld id="{AAFBCBED-EE19-4117-8936-72A313F22DCB}" type="slidenum">
              <a:rPr lang="en-US"/>
              <a:t>9</a:t>
            </a:fld>
            <a:endParaRPr lang="en-US"/>
          </a:p>
        </p:txBody>
      </p:sp>
    </p:spTree>
    <p:extLst>
      <p:ext uri="{BB962C8B-B14F-4D97-AF65-F5344CB8AC3E}">
        <p14:creationId xmlns:p14="http://schemas.microsoft.com/office/powerpoint/2010/main" val="496234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CB transition to CM – </a:t>
            </a:r>
            <a:endParaRPr lang="en-US"/>
          </a:p>
          <a:p>
            <a:r>
              <a:rPr lang="en-US">
                <a:cs typeface="Calibri"/>
              </a:rPr>
              <a:t>Telehealth and </a:t>
            </a:r>
            <a:r>
              <a:rPr lang="en-US" err="1">
                <a:cs typeface="Calibri"/>
              </a:rPr>
              <a:t>teledentistry</a:t>
            </a:r>
            <a:r>
              <a:rPr lang="en-US">
                <a:cs typeface="Calibri"/>
              </a:rPr>
              <a:t> is being used in all sorts of ways, in urban and rural locations </a:t>
            </a:r>
          </a:p>
          <a:p>
            <a:endParaRPr lang="en-US">
              <a:cs typeface="Calibri"/>
            </a:endParaRPr>
          </a:p>
          <a:p>
            <a:r>
              <a:rPr lang="en-US">
                <a:cs typeface="Calibri"/>
              </a:rPr>
              <a:t>care coordination in a hybrid </a:t>
            </a:r>
            <a:r>
              <a:rPr lang="en-US" err="1">
                <a:cs typeface="Calibri"/>
              </a:rPr>
              <a:t>teledentistry</a:t>
            </a:r>
            <a:r>
              <a:rPr lang="en-US">
                <a:cs typeface="Calibri"/>
              </a:rPr>
              <a:t> model or medical-dental model</a:t>
            </a:r>
          </a:p>
        </p:txBody>
      </p:sp>
      <p:sp>
        <p:nvSpPr>
          <p:cNvPr id="4" name="Slide Number Placeholder 3"/>
          <p:cNvSpPr>
            <a:spLocks noGrp="1"/>
          </p:cNvSpPr>
          <p:nvPr>
            <p:ph type="sldNum" sz="quarter" idx="5"/>
          </p:nvPr>
        </p:nvSpPr>
        <p:spPr/>
        <p:txBody>
          <a:bodyPr/>
          <a:lstStyle/>
          <a:p>
            <a:fld id="{AAFBCBED-EE19-4117-8936-72A313F22DCB}" type="slidenum">
              <a:rPr lang="en-US"/>
              <a:t>10</a:t>
            </a:fld>
            <a:endParaRPr lang="en-US"/>
          </a:p>
        </p:txBody>
      </p:sp>
    </p:spTree>
    <p:extLst>
      <p:ext uri="{BB962C8B-B14F-4D97-AF65-F5344CB8AC3E}">
        <p14:creationId xmlns:p14="http://schemas.microsoft.com/office/powerpoint/2010/main" val="106203718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cs typeface="Calibri"/>
              </a:rPr>
              <a:t>For all our visual learners out there, I wanted to start with a visual of how teledentistry might look as you put it into practice in your office setting. The subsequent workflow we'll walk through is a hybrid model, meaning </a:t>
            </a:r>
            <a:r>
              <a:rPr lang="en-US" err="1">
                <a:cs typeface="Calibri"/>
              </a:rPr>
              <a:t>teledentisty</a:t>
            </a:r>
            <a:r>
              <a:rPr lang="en-US">
                <a:cs typeface="Calibri"/>
              </a:rPr>
              <a:t> is used to assist in the care of patients remotely, with you in office and the patient in another location or to facilitate in-office/in-person care. I'll walk through different parts of the visual as we go, but wanted you to see the big picture first.  </a:t>
            </a:r>
          </a:p>
        </p:txBody>
      </p:sp>
      <p:sp>
        <p:nvSpPr>
          <p:cNvPr id="4" name="Slide Number Placeholder 3"/>
          <p:cNvSpPr>
            <a:spLocks noGrp="1"/>
          </p:cNvSpPr>
          <p:nvPr>
            <p:ph type="sldNum" sz="quarter" idx="5"/>
          </p:nvPr>
        </p:nvSpPr>
        <p:spPr/>
        <p:txBody>
          <a:bodyPr/>
          <a:lstStyle/>
          <a:p>
            <a:fld id="{AAFBCBED-EE19-4117-8936-72A313F22DCB}" type="slidenum">
              <a:rPr lang="en-US"/>
              <a:t>11</a:t>
            </a:fld>
            <a:endParaRPr lang="en-US"/>
          </a:p>
        </p:txBody>
      </p:sp>
    </p:spTree>
    <p:extLst>
      <p:ext uri="{BB962C8B-B14F-4D97-AF65-F5344CB8AC3E}">
        <p14:creationId xmlns:p14="http://schemas.microsoft.com/office/powerpoint/2010/main" val="211166681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EF3EDD-659B-8141-98EB-8EBEBCFD3338}"/>
              </a:ext>
            </a:extLst>
          </p:cNvPr>
          <p:cNvSpPr>
            <a:spLocks noGrp="1"/>
          </p:cNvSpPr>
          <p:nvPr>
            <p:ph type="pic" sz="quarter" idx="10"/>
          </p:nvPr>
        </p:nvSpPr>
        <p:spPr>
          <a:xfrm>
            <a:off x="0" y="0"/>
            <a:ext cx="12192000" cy="5804114"/>
          </a:xfrm>
          <a:solidFill>
            <a:schemeClr val="bg1">
              <a:lumMod val="95000"/>
            </a:schemeClr>
          </a:solidFill>
        </p:spPr>
        <p:txBody>
          <a:bodyPr/>
          <a:lstStyle>
            <a:lvl1pPr algn="ctr">
              <a:defRPr/>
            </a:lvl1pPr>
          </a:lstStyle>
          <a:p>
            <a:r>
              <a:rPr lang="en-US"/>
              <a:t>Click icon to add picture</a:t>
            </a:r>
          </a:p>
        </p:txBody>
      </p:sp>
      <p:sp>
        <p:nvSpPr>
          <p:cNvPr id="2" name="Title 1"/>
          <p:cNvSpPr>
            <a:spLocks noGrp="1"/>
          </p:cNvSpPr>
          <p:nvPr>
            <p:ph type="ctrTitle" hasCustomPrompt="1"/>
          </p:nvPr>
        </p:nvSpPr>
        <p:spPr>
          <a:xfrm>
            <a:off x="502920" y="1280160"/>
            <a:ext cx="10363200" cy="2743200"/>
          </a:xfrm>
        </p:spPr>
        <p:txBody>
          <a:bodyPr/>
          <a:lstStyle>
            <a:lvl1pPr>
              <a:lnSpc>
                <a:spcPct val="80000"/>
              </a:lnSpc>
              <a:defRPr sz="7200" b="0" cap="all" baseline="0">
                <a:solidFill>
                  <a:schemeClr val="accent2"/>
                </a:solidFill>
                <a:latin typeface="Impact" panose="020B0806030902050204" pitchFamily="34" charset="0"/>
              </a:defRPr>
            </a:lvl1pPr>
          </a:lstStyle>
          <a:p>
            <a:r>
              <a:rPr lang="en-US"/>
              <a:t>Click to</a:t>
            </a:r>
            <a:br>
              <a:rPr lang="en-US"/>
            </a:br>
            <a:r>
              <a:rPr lang="en-US"/>
              <a:t>edit</a:t>
            </a:r>
            <a:br>
              <a:rPr lang="en-US"/>
            </a:br>
            <a:r>
              <a:rPr lang="en-US"/>
              <a:t>title</a:t>
            </a:r>
          </a:p>
        </p:txBody>
      </p:sp>
      <p:sp>
        <p:nvSpPr>
          <p:cNvPr id="3" name="Subtitle 2"/>
          <p:cNvSpPr>
            <a:spLocks noGrp="1"/>
          </p:cNvSpPr>
          <p:nvPr>
            <p:ph type="subTitle" idx="1" hasCustomPrompt="1"/>
          </p:nvPr>
        </p:nvSpPr>
        <p:spPr>
          <a:xfrm>
            <a:off x="502920" y="4297680"/>
            <a:ext cx="5486400" cy="914400"/>
          </a:xfrm>
        </p:spPr>
        <p:txBody>
          <a:bodyPr/>
          <a:lstStyle>
            <a:lvl1pPr marL="0" indent="0" algn="l">
              <a:spcBef>
                <a:spcPts val="0"/>
              </a:spcBef>
              <a:buNone/>
              <a:defRPr sz="1800" b="1">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8" name="Picture 7">
            <a:extLst>
              <a:ext uri="{FF2B5EF4-FFF2-40B4-BE49-F238E27FC236}">
                <a16:creationId xmlns:a16="http://schemas.microsoft.com/office/drawing/2014/main" id="{AF5191AC-7DC1-8D4F-BC55-98732873852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9051925" y="6038662"/>
            <a:ext cx="2595051" cy="556443"/>
          </a:xfrm>
          <a:prstGeom prst="rect">
            <a:avLst/>
          </a:prstGeom>
        </p:spPr>
      </p:pic>
    </p:spTree>
    <p:extLst>
      <p:ext uri="{BB962C8B-B14F-4D97-AF65-F5344CB8AC3E}">
        <p14:creationId xmlns:p14="http://schemas.microsoft.com/office/powerpoint/2010/main" val="27911408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1_Title Only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30CF1BCB-BED2-7046-B660-B679A08680C8}"/>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sp>
        <p:nvSpPr>
          <p:cNvPr id="5" name="Text Placeholder 3">
            <a:extLst>
              <a:ext uri="{FF2B5EF4-FFF2-40B4-BE49-F238E27FC236}">
                <a16:creationId xmlns:a16="http://schemas.microsoft.com/office/drawing/2014/main" id="{7E19B30B-36B8-9C48-89D7-E16260BEA429}"/>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pic>
        <p:nvPicPr>
          <p:cNvPr id="6" name="Picture 5">
            <a:extLst>
              <a:ext uri="{FF2B5EF4-FFF2-40B4-BE49-F238E27FC236}">
                <a16:creationId xmlns:a16="http://schemas.microsoft.com/office/drawing/2014/main" id="{0A24A276-69C6-2243-845D-F91B87013672}"/>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197766390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Agenda/TO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 Table of Contents</a:t>
            </a:r>
          </a:p>
        </p:txBody>
      </p:sp>
      <p:sp>
        <p:nvSpPr>
          <p:cNvPr id="4" name="TextBox 3">
            <a:extLst>
              <a:ext uri="{FF2B5EF4-FFF2-40B4-BE49-F238E27FC236}">
                <a16:creationId xmlns:a16="http://schemas.microsoft.com/office/drawing/2014/main" id="{A29F7266-67A4-1049-AF82-D46B7BB3E129}"/>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8" name="Picture 7">
            <a:extLst>
              <a:ext uri="{FF2B5EF4-FFF2-40B4-BE49-F238E27FC236}">
                <a16:creationId xmlns:a16="http://schemas.microsoft.com/office/drawing/2014/main" id="{536CDB0A-E650-6843-8D3F-3F25126FD9D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
        <p:nvSpPr>
          <p:cNvPr id="6" name="TextBox 5">
            <a:extLst>
              <a:ext uri="{FF2B5EF4-FFF2-40B4-BE49-F238E27FC236}">
                <a16:creationId xmlns:a16="http://schemas.microsoft.com/office/drawing/2014/main" id="{63979F30-A114-4736-B4D4-AB10C75D3742}"/>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tx1"/>
                </a:solidFill>
                <a:latin typeface="+mn-lt"/>
              </a:rPr>
              <a:t>‹#›</a:t>
            </a:fld>
            <a:endParaRPr lang="en-US" sz="900" b="0">
              <a:solidFill>
                <a:schemeClr val="tx1"/>
              </a:solidFill>
              <a:latin typeface="+mn-lt"/>
            </a:endParaRPr>
          </a:p>
        </p:txBody>
      </p:sp>
      <p:pic>
        <p:nvPicPr>
          <p:cNvPr id="7" name="Picture 6">
            <a:extLst>
              <a:ext uri="{FF2B5EF4-FFF2-40B4-BE49-F238E27FC236}">
                <a16:creationId xmlns:a16="http://schemas.microsoft.com/office/drawing/2014/main" id="{A67CE56B-496F-46F0-9444-E19051ED5B86}"/>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030063" y="6305006"/>
            <a:ext cx="1308497" cy="280574"/>
          </a:xfrm>
          <a:prstGeom prst="rect">
            <a:avLst/>
          </a:prstGeom>
        </p:spPr>
      </p:pic>
      <p:sp>
        <p:nvSpPr>
          <p:cNvPr id="9" name="Content Placeholder 2">
            <a:extLst>
              <a:ext uri="{FF2B5EF4-FFF2-40B4-BE49-F238E27FC236}">
                <a16:creationId xmlns:a16="http://schemas.microsoft.com/office/drawing/2014/main" id="{6D843DDB-C9AB-4577-8954-0B000BFF9162}"/>
              </a:ext>
            </a:extLst>
          </p:cNvPr>
          <p:cNvSpPr>
            <a:spLocks noGrp="1"/>
          </p:cNvSpPr>
          <p:nvPr>
            <p:ph idx="1"/>
          </p:nvPr>
        </p:nvSpPr>
        <p:spPr>
          <a:xfrm>
            <a:off x="502920" y="1645920"/>
            <a:ext cx="10835640" cy="4384766"/>
          </a:xfrm>
        </p:spPr>
        <p:txBody>
          <a:bodyPr/>
          <a:lstStyle>
            <a:lvl1pPr>
              <a:defRPr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138913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Agenda/TOC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6F6F6"/>
                </a:solidFill>
              </a:defRPr>
            </a:lvl1pPr>
          </a:lstStyle>
          <a:p>
            <a:r>
              <a:rPr lang="en-US"/>
              <a:t>Agenda / Table of Contents </a:t>
            </a:r>
          </a:p>
        </p:txBody>
      </p:sp>
      <p:sp>
        <p:nvSpPr>
          <p:cNvPr id="4" name="TextBox 3">
            <a:extLst>
              <a:ext uri="{FF2B5EF4-FFF2-40B4-BE49-F238E27FC236}">
                <a16:creationId xmlns:a16="http://schemas.microsoft.com/office/drawing/2014/main" id="{A29F7266-67A4-1049-AF82-D46B7BB3E129}"/>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8" name="Picture 7">
            <a:extLst>
              <a:ext uri="{FF2B5EF4-FFF2-40B4-BE49-F238E27FC236}">
                <a16:creationId xmlns:a16="http://schemas.microsoft.com/office/drawing/2014/main" id="{536CDB0A-E650-6843-8D3F-3F25126FD9D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
        <p:nvSpPr>
          <p:cNvPr id="6" name="Content Placeholder 2">
            <a:extLst>
              <a:ext uri="{FF2B5EF4-FFF2-40B4-BE49-F238E27FC236}">
                <a16:creationId xmlns:a16="http://schemas.microsoft.com/office/drawing/2014/main" id="{F61F56C8-BA20-478B-B64B-2923E463E15F}"/>
              </a:ext>
            </a:extLst>
          </p:cNvPr>
          <p:cNvSpPr>
            <a:spLocks noGrp="1"/>
          </p:cNvSpPr>
          <p:nvPr>
            <p:ph idx="1"/>
          </p:nvPr>
        </p:nvSpPr>
        <p:spPr>
          <a:xfrm>
            <a:off x="502920" y="1645920"/>
            <a:ext cx="10835640" cy="4384766"/>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4974296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Agenda/TOC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 Table of Contents </a:t>
            </a:r>
          </a:p>
        </p:txBody>
      </p:sp>
      <p:sp>
        <p:nvSpPr>
          <p:cNvPr id="4" name="TextBox 3">
            <a:extLst>
              <a:ext uri="{FF2B5EF4-FFF2-40B4-BE49-F238E27FC236}">
                <a16:creationId xmlns:a16="http://schemas.microsoft.com/office/drawing/2014/main" id="{A29F7266-67A4-1049-AF82-D46B7BB3E129}"/>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8" name="Picture 7">
            <a:extLst>
              <a:ext uri="{FF2B5EF4-FFF2-40B4-BE49-F238E27FC236}">
                <a16:creationId xmlns:a16="http://schemas.microsoft.com/office/drawing/2014/main" id="{536CDB0A-E650-6843-8D3F-3F25126FD9D5}"/>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
        <p:nvSpPr>
          <p:cNvPr id="6" name="Content Placeholder 2">
            <a:extLst>
              <a:ext uri="{FF2B5EF4-FFF2-40B4-BE49-F238E27FC236}">
                <a16:creationId xmlns:a16="http://schemas.microsoft.com/office/drawing/2014/main" id="{5AEF0369-BD33-48BB-9DC3-6432231CAB31}"/>
              </a:ext>
            </a:extLst>
          </p:cNvPr>
          <p:cNvSpPr>
            <a:spLocks noGrp="1"/>
          </p:cNvSpPr>
          <p:nvPr>
            <p:ph idx="1"/>
          </p:nvPr>
        </p:nvSpPr>
        <p:spPr>
          <a:xfrm>
            <a:off x="502920" y="1645920"/>
            <a:ext cx="10835640" cy="4384766"/>
          </a:xfrm>
        </p:spPr>
        <p:txBody>
          <a:bodyPr/>
          <a:lstStyle>
            <a:lvl1pPr>
              <a:defRPr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157071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0"/>
            <a:ext cx="10363200" cy="1500187"/>
          </a:xfrm>
        </p:spPr>
        <p:txBody>
          <a:bodyPr anchor="t"/>
          <a:lstStyle>
            <a:lvl1pPr marL="0" indent="0">
              <a:spcBef>
                <a:spcPts val="0"/>
              </a:spcBef>
              <a:buNone/>
              <a:defRPr sz="2800" b="1">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title</a:t>
            </a:r>
          </a:p>
        </p:txBody>
      </p:sp>
      <p:sp>
        <p:nvSpPr>
          <p:cNvPr id="8" name="TextBox 7">
            <a:extLst>
              <a:ext uri="{FF2B5EF4-FFF2-40B4-BE49-F238E27FC236}">
                <a16:creationId xmlns:a16="http://schemas.microsoft.com/office/drawing/2014/main" id="{305B1D86-D5DD-B644-B414-9C55D1616CFE}"/>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rgbClr val="000000"/>
                </a:solidFill>
                <a:latin typeface="+mn-lt"/>
              </a:rPr>
              <a:t>‹#›</a:t>
            </a:fld>
            <a:endParaRPr lang="en-US" sz="900" b="0">
              <a:solidFill>
                <a:srgbClr val="000000"/>
              </a:solidFill>
              <a:latin typeface="+mn-lt"/>
            </a:endParaRPr>
          </a:p>
        </p:txBody>
      </p:sp>
      <p:pic>
        <p:nvPicPr>
          <p:cNvPr id="7" name="Picture 6">
            <a:extLst>
              <a:ext uri="{FF2B5EF4-FFF2-40B4-BE49-F238E27FC236}">
                <a16:creationId xmlns:a16="http://schemas.microsoft.com/office/drawing/2014/main" id="{EDF67CB6-071E-2A46-9CCA-B9FF69A11CDB}"/>
              </a:ext>
            </a:extLst>
          </p:cNvPr>
          <p:cNvPicPr>
            <a:picLocks noChangeAspect="1"/>
          </p:cNvPicPr>
          <p:nvPr userDrawn="1"/>
        </p:nvPicPr>
        <p:blipFill>
          <a:blip r:embed="rId2">
            <a:lum/>
          </a:blip>
          <a:stretch>
            <a:fillRect/>
          </a:stretch>
        </p:blipFill>
        <p:spPr>
          <a:xfrm>
            <a:off x="9070500" y="5705856"/>
            <a:ext cx="2268060" cy="845490"/>
          </a:xfrm>
          <a:prstGeom prst="rect">
            <a:avLst/>
          </a:prstGeom>
        </p:spPr>
      </p:pic>
    </p:spTree>
    <p:extLst>
      <p:ext uri="{BB962C8B-B14F-4D97-AF65-F5344CB8AC3E}">
        <p14:creationId xmlns:p14="http://schemas.microsoft.com/office/powerpoint/2010/main" val="11627840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solidFill>
                  <a:srgbClr val="F6F6F6"/>
                </a:solidFi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0"/>
            <a:ext cx="10363200" cy="1500187"/>
          </a:xfrm>
        </p:spPr>
        <p:txBody>
          <a:bodyPr anchor="t"/>
          <a:lstStyle>
            <a:lvl1pPr marL="0" indent="0">
              <a:spcBef>
                <a:spcPts val="0"/>
              </a:spcBef>
              <a:buNone/>
              <a:defRPr sz="2800" b="1">
                <a:solidFill>
                  <a:srgbClr val="F6F6F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title</a:t>
            </a:r>
          </a:p>
        </p:txBody>
      </p:sp>
      <p:sp>
        <p:nvSpPr>
          <p:cNvPr id="8" name="TextBox 7">
            <a:extLst>
              <a:ext uri="{FF2B5EF4-FFF2-40B4-BE49-F238E27FC236}">
                <a16:creationId xmlns:a16="http://schemas.microsoft.com/office/drawing/2014/main" id="{305B1D86-D5DD-B644-B414-9C55D1616CFE}"/>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6" name="Picture 5">
            <a:extLst>
              <a:ext uri="{FF2B5EF4-FFF2-40B4-BE49-F238E27FC236}">
                <a16:creationId xmlns:a16="http://schemas.microsoft.com/office/drawing/2014/main" id="{FDAE5649-A80B-CC48-8EE4-EFE3586DA4FF}"/>
              </a:ext>
            </a:extLst>
          </p:cNvPr>
          <p:cNvPicPr>
            <a:picLocks noChangeAspect="1"/>
          </p:cNvPicPr>
          <p:nvPr userDrawn="1"/>
        </p:nvPicPr>
        <p:blipFill>
          <a:blip r:embed="rId2">
            <a:lum bright="100000"/>
          </a:blip>
          <a:stretch>
            <a:fillRect/>
          </a:stretch>
        </p:blipFill>
        <p:spPr>
          <a:xfrm>
            <a:off x="9070500" y="5705856"/>
            <a:ext cx="2268060" cy="845490"/>
          </a:xfrm>
          <a:prstGeom prst="rect">
            <a:avLst/>
          </a:prstGeom>
        </p:spPr>
      </p:pic>
    </p:spTree>
    <p:extLst>
      <p:ext uri="{BB962C8B-B14F-4D97-AF65-F5344CB8AC3E}">
        <p14:creationId xmlns:p14="http://schemas.microsoft.com/office/powerpoint/2010/main" val="105420841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type="secHead" preserve="1">
  <p:cSld name="1_Section Header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0"/>
            <a:ext cx="10363200" cy="1500187"/>
          </a:xfrm>
        </p:spPr>
        <p:txBody>
          <a:bodyPr anchor="t"/>
          <a:lstStyle>
            <a:lvl1pPr marL="0" indent="0">
              <a:spcBef>
                <a:spcPts val="0"/>
              </a:spcBef>
              <a:buNone/>
              <a:defRPr sz="2800" b="1">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title</a:t>
            </a:r>
          </a:p>
        </p:txBody>
      </p:sp>
      <p:sp>
        <p:nvSpPr>
          <p:cNvPr id="8" name="TextBox 7">
            <a:extLst>
              <a:ext uri="{FF2B5EF4-FFF2-40B4-BE49-F238E27FC236}">
                <a16:creationId xmlns:a16="http://schemas.microsoft.com/office/drawing/2014/main" id="{305B1D86-D5DD-B644-B414-9C55D1616CFE}"/>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6" name="Picture 5">
            <a:extLst>
              <a:ext uri="{FF2B5EF4-FFF2-40B4-BE49-F238E27FC236}">
                <a16:creationId xmlns:a16="http://schemas.microsoft.com/office/drawing/2014/main" id="{EB187AE3-E2A0-364E-8D91-21C4E3D6D49C}"/>
              </a:ext>
            </a:extLst>
          </p:cNvPr>
          <p:cNvPicPr>
            <a:picLocks noChangeAspect="1"/>
          </p:cNvPicPr>
          <p:nvPr userDrawn="1"/>
        </p:nvPicPr>
        <p:blipFill>
          <a:blip r:embed="rId2">
            <a:lum bright="100000"/>
          </a:blip>
          <a:stretch>
            <a:fillRect/>
          </a:stretch>
        </p:blipFill>
        <p:spPr>
          <a:xfrm>
            <a:off x="9070500" y="5705856"/>
            <a:ext cx="2268060" cy="845490"/>
          </a:xfrm>
          <a:prstGeom prst="rect">
            <a:avLst/>
          </a:prstGeom>
        </p:spPr>
      </p:pic>
    </p:spTree>
    <p:extLst>
      <p:ext uri="{BB962C8B-B14F-4D97-AF65-F5344CB8AC3E}">
        <p14:creationId xmlns:p14="http://schemas.microsoft.com/office/powerpoint/2010/main" val="15635946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586044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Back Page Logo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E67010-C785-A549-A8C2-92420F9611E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43242" y="3053167"/>
            <a:ext cx="3505518" cy="751668"/>
          </a:xfrm>
          <a:prstGeom prst="rect">
            <a:avLst/>
          </a:prstGeom>
        </p:spPr>
      </p:pic>
    </p:spTree>
    <p:extLst>
      <p:ext uri="{BB962C8B-B14F-4D97-AF65-F5344CB8AC3E}">
        <p14:creationId xmlns:p14="http://schemas.microsoft.com/office/powerpoint/2010/main" val="294106363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1_Back Page Logo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30EC603-23BF-0340-B45B-438C6E8C5F82}"/>
              </a:ext>
            </a:extLst>
          </p:cNvPr>
          <p:cNvPicPr>
            <a:picLocks noChangeAspect="1"/>
          </p:cNvPicPr>
          <p:nvPr userDrawn="1"/>
        </p:nvPicPr>
        <p:blipFill>
          <a:blip r:embed="rId2"/>
          <a:stretch>
            <a:fillRect/>
          </a:stretch>
        </p:blipFill>
        <p:spPr>
          <a:xfrm>
            <a:off x="4343242" y="3053167"/>
            <a:ext cx="3502152" cy="1305536"/>
          </a:xfrm>
          <a:prstGeom prst="rect">
            <a:avLst/>
          </a:prstGeom>
        </p:spPr>
      </p:pic>
    </p:spTree>
    <p:extLst>
      <p:ext uri="{BB962C8B-B14F-4D97-AF65-F5344CB8AC3E}">
        <p14:creationId xmlns:p14="http://schemas.microsoft.com/office/powerpoint/2010/main" val="32647262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Title Slid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2920" y="1222494"/>
            <a:ext cx="10363200" cy="2743200"/>
          </a:xfrm>
        </p:spPr>
        <p:txBody>
          <a:bodyPr/>
          <a:lstStyle>
            <a:lvl1pPr>
              <a:lnSpc>
                <a:spcPct val="80000"/>
              </a:lnSpc>
              <a:defRPr sz="7200" b="0" cap="all" baseline="0">
                <a:solidFill>
                  <a:schemeClr val="accent1"/>
                </a:solidFill>
                <a:latin typeface="Impact" panose="020B0806030902050204" pitchFamily="34" charset="0"/>
              </a:defRPr>
            </a:lvl1pPr>
          </a:lstStyle>
          <a:p>
            <a:r>
              <a:rPr lang="en-US"/>
              <a:t>Click to</a:t>
            </a:r>
            <a:br>
              <a:rPr lang="en-US"/>
            </a:br>
            <a:r>
              <a:rPr lang="en-US">
                <a:solidFill>
                  <a:schemeClr val="accent2"/>
                </a:solidFill>
              </a:rPr>
              <a:t>edit </a:t>
            </a:r>
            <a:br>
              <a:rPr lang="en-US">
                <a:solidFill>
                  <a:schemeClr val="accent2"/>
                </a:solidFill>
              </a:rPr>
            </a:br>
            <a:r>
              <a:rPr lang="en-US">
                <a:solidFill>
                  <a:schemeClr val="accent3"/>
                </a:solidFill>
              </a:rPr>
              <a:t>title</a:t>
            </a:r>
            <a:endParaRPr lang="en-US"/>
          </a:p>
        </p:txBody>
      </p:sp>
      <p:sp>
        <p:nvSpPr>
          <p:cNvPr id="3" name="Subtitle 2"/>
          <p:cNvSpPr>
            <a:spLocks noGrp="1"/>
          </p:cNvSpPr>
          <p:nvPr>
            <p:ph type="subTitle" idx="1" hasCustomPrompt="1"/>
          </p:nvPr>
        </p:nvSpPr>
        <p:spPr>
          <a:xfrm>
            <a:off x="502920" y="4240014"/>
            <a:ext cx="5486400" cy="914400"/>
          </a:xfrm>
        </p:spPr>
        <p:txBody>
          <a:bodyPr/>
          <a:lstStyle>
            <a:lvl1pPr marL="0" indent="0" algn="l">
              <a:spcBef>
                <a:spcPts val="0"/>
              </a:spcBef>
              <a:buNone/>
              <a:defRPr sz="20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pic>
        <p:nvPicPr>
          <p:cNvPr id="6" name="Picture 5">
            <a:extLst>
              <a:ext uri="{FF2B5EF4-FFF2-40B4-BE49-F238E27FC236}">
                <a16:creationId xmlns:a16="http://schemas.microsoft.com/office/drawing/2014/main" id="{FD1BEEFF-01F7-8E4A-86EE-730F1B71EADA}"/>
              </a:ext>
            </a:extLst>
          </p:cNvPr>
          <p:cNvPicPr>
            <a:picLocks noChangeAspect="1"/>
          </p:cNvPicPr>
          <p:nvPr userDrawn="1"/>
        </p:nvPicPr>
        <p:blipFill>
          <a:blip r:embed="rId2"/>
          <a:stretch>
            <a:fillRect/>
          </a:stretch>
        </p:blipFill>
        <p:spPr>
          <a:xfrm>
            <a:off x="9178376" y="5674566"/>
            <a:ext cx="2470444" cy="920935"/>
          </a:xfrm>
          <a:prstGeom prst="rect">
            <a:avLst/>
          </a:prstGeom>
        </p:spPr>
      </p:pic>
    </p:spTree>
    <p:extLst>
      <p:ext uri="{BB962C8B-B14F-4D97-AF65-F5344CB8AC3E}">
        <p14:creationId xmlns:p14="http://schemas.microsoft.com/office/powerpoint/2010/main" val="146403398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Back Page Logo Tag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BA963730-3DEC-4C4F-B9AC-7D49A796EBCD}"/>
              </a:ext>
            </a:extLst>
          </p:cNvPr>
          <p:cNvPicPr>
            <a:picLocks noChangeAspect="1"/>
          </p:cNvPicPr>
          <p:nvPr/>
        </p:nvPicPr>
        <p:blipFill>
          <a:blip r:embed="rId2"/>
          <a:stretch>
            <a:fillRect/>
          </a:stretch>
        </p:blipFill>
        <p:spPr>
          <a:xfrm>
            <a:off x="4343241" y="2900151"/>
            <a:ext cx="3505518" cy="1057699"/>
          </a:xfrm>
          <a:prstGeom prst="rect">
            <a:avLst/>
          </a:prstGeom>
        </p:spPr>
      </p:pic>
    </p:spTree>
    <p:extLst>
      <p:ext uri="{BB962C8B-B14F-4D97-AF65-F5344CB8AC3E}">
        <p14:creationId xmlns:p14="http://schemas.microsoft.com/office/powerpoint/2010/main" val="40046290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1_Title Slid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49C43DE-453D-3D4A-A607-60D93A2A71E2}"/>
              </a:ext>
            </a:extLst>
          </p:cNvPr>
          <p:cNvSpPr/>
          <p:nvPr/>
        </p:nvSpPr>
        <p:spPr>
          <a:xfrm>
            <a:off x="0" y="0"/>
            <a:ext cx="12192000" cy="539496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 name="Title 1"/>
          <p:cNvSpPr>
            <a:spLocks noGrp="1"/>
          </p:cNvSpPr>
          <p:nvPr>
            <p:ph type="ctrTitle" hasCustomPrompt="1"/>
          </p:nvPr>
        </p:nvSpPr>
        <p:spPr>
          <a:xfrm>
            <a:off x="502920" y="1222494"/>
            <a:ext cx="10363200" cy="2743200"/>
          </a:xfrm>
        </p:spPr>
        <p:txBody>
          <a:bodyPr/>
          <a:lstStyle>
            <a:lvl1pPr>
              <a:lnSpc>
                <a:spcPct val="80000"/>
              </a:lnSpc>
              <a:defRPr sz="7200" b="0" cap="all" baseline="0">
                <a:solidFill>
                  <a:schemeClr val="accent4"/>
                </a:solidFill>
                <a:latin typeface="Impact" panose="020B0806030902050204" pitchFamily="34" charset="0"/>
              </a:defRPr>
            </a:lvl1pPr>
          </a:lstStyle>
          <a:p>
            <a:r>
              <a:rPr lang="en-US"/>
              <a:t>Click</a:t>
            </a:r>
            <a:br>
              <a:rPr lang="en-US"/>
            </a:br>
            <a:r>
              <a:rPr lang="en-US"/>
              <a:t>TO edit</a:t>
            </a:r>
            <a:br>
              <a:rPr lang="en-US"/>
            </a:br>
            <a:r>
              <a:rPr lang="en-US"/>
              <a:t>title</a:t>
            </a:r>
          </a:p>
        </p:txBody>
      </p:sp>
      <p:sp>
        <p:nvSpPr>
          <p:cNvPr id="3" name="Subtitle 2"/>
          <p:cNvSpPr>
            <a:spLocks noGrp="1"/>
          </p:cNvSpPr>
          <p:nvPr>
            <p:ph type="subTitle" idx="1" hasCustomPrompt="1"/>
          </p:nvPr>
        </p:nvSpPr>
        <p:spPr>
          <a:xfrm>
            <a:off x="502920" y="4240014"/>
            <a:ext cx="5486400" cy="914400"/>
          </a:xfrm>
        </p:spPr>
        <p:txBody>
          <a:bodyPr/>
          <a:lstStyle>
            <a:lvl1pPr marL="0" indent="0" algn="l">
              <a:spcBef>
                <a:spcPts val="0"/>
              </a:spcBef>
              <a:buNone/>
              <a:defRPr sz="18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p>
          <a:p>
            <a:r>
              <a:rPr lang="en-US"/>
              <a:t>Date</a:t>
            </a:r>
          </a:p>
        </p:txBody>
      </p:sp>
      <p:pic>
        <p:nvPicPr>
          <p:cNvPr id="6" name="Picture 5">
            <a:extLst>
              <a:ext uri="{FF2B5EF4-FFF2-40B4-BE49-F238E27FC236}">
                <a16:creationId xmlns:a16="http://schemas.microsoft.com/office/drawing/2014/main" id="{F4B34764-B393-FB45-992B-37970CB3D547}"/>
              </a:ext>
            </a:extLst>
          </p:cNvPr>
          <p:cNvPicPr>
            <a:picLocks noChangeAspect="1"/>
          </p:cNvPicPr>
          <p:nvPr userDrawn="1"/>
        </p:nvPicPr>
        <p:blipFill>
          <a:blip r:embed="rId2"/>
          <a:stretch>
            <a:fillRect/>
          </a:stretch>
        </p:blipFill>
        <p:spPr>
          <a:xfrm>
            <a:off x="9178376" y="5674566"/>
            <a:ext cx="2470444" cy="920935"/>
          </a:xfrm>
          <a:prstGeom prst="rect">
            <a:avLst/>
          </a:prstGeom>
        </p:spPr>
      </p:pic>
    </p:spTree>
    <p:extLst>
      <p:ext uri="{BB962C8B-B14F-4D97-AF65-F5344CB8AC3E}">
        <p14:creationId xmlns:p14="http://schemas.microsoft.com/office/powerpoint/2010/main" val="151006412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hree Content Whit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tx2"/>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7" name="TextBox 6">
            <a:extLst>
              <a:ext uri="{FF2B5EF4-FFF2-40B4-BE49-F238E27FC236}">
                <a16:creationId xmlns:a16="http://schemas.microsoft.com/office/drawing/2014/main" id="{973E6308-FDAF-1842-B6E5-2E567AC3EB04}"/>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10" name="Picture 9">
            <a:extLst>
              <a:ext uri="{FF2B5EF4-FFF2-40B4-BE49-F238E27FC236}">
                <a16:creationId xmlns:a16="http://schemas.microsoft.com/office/drawing/2014/main" id="{0CD61F71-82C5-804A-A22E-2A883D0D425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400766778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hree Content White_logo">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tx2"/>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Tree>
    <p:extLst>
      <p:ext uri="{BB962C8B-B14F-4D97-AF65-F5344CB8AC3E}">
        <p14:creationId xmlns:p14="http://schemas.microsoft.com/office/powerpoint/2010/main" val="29103537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hree Content Teal">
    <p:bg>
      <p:bgPr>
        <a:solidFill>
          <a:schemeClr val="accent4"/>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2400">
                <a:solidFill>
                  <a:schemeClr val="tx2"/>
                </a:solidFill>
              </a:defRPr>
            </a:lvl1pPr>
            <a:lvl2pPr marL="579438" indent="-230188">
              <a:tabLst/>
              <a:defRPr sz="2200">
                <a:solidFill>
                  <a:schemeClr val="tx2"/>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2400">
                <a:solidFill>
                  <a:schemeClr val="tx2"/>
                </a:solidFill>
              </a:defRPr>
            </a:lvl1pPr>
            <a:lvl2pPr marL="579438" indent="-230188">
              <a:tabLst/>
              <a:defRPr sz="2200">
                <a:solidFill>
                  <a:schemeClr val="tx2"/>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tx2"/>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2400">
                <a:solidFill>
                  <a:schemeClr val="tx2"/>
                </a:solidFill>
              </a:defRPr>
            </a:lvl1pPr>
            <a:lvl2pPr marL="579438" indent="-230188">
              <a:tabLst/>
              <a:defRPr sz="2200">
                <a:solidFill>
                  <a:schemeClr val="tx2"/>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7" name="TextBox 6">
            <a:extLst>
              <a:ext uri="{FF2B5EF4-FFF2-40B4-BE49-F238E27FC236}">
                <a16:creationId xmlns:a16="http://schemas.microsoft.com/office/drawing/2014/main" id="{973E6308-FDAF-1842-B6E5-2E567AC3EB04}"/>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10" name="Picture 9">
            <a:extLst>
              <a:ext uri="{FF2B5EF4-FFF2-40B4-BE49-F238E27FC236}">
                <a16:creationId xmlns:a16="http://schemas.microsoft.com/office/drawing/2014/main" id="{0CD61F71-82C5-804A-A22E-2A883D0D425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29153253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p:cSld name="1_Three Content Blue">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2400">
                <a:solidFill>
                  <a:schemeClr val="bg1"/>
                </a:solidFill>
              </a:defRPr>
            </a:lvl1pPr>
            <a:lvl2pPr marL="579438" indent="-230188">
              <a:tabLst/>
              <a:defRPr sz="2200">
                <a:solidFill>
                  <a:schemeClr val="bg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2400">
                <a:solidFill>
                  <a:schemeClr val="bg1"/>
                </a:solidFill>
              </a:defRPr>
            </a:lvl1pPr>
            <a:lvl2pPr marL="579438" indent="-230188">
              <a:tabLst/>
              <a:defRPr sz="2200">
                <a:solidFill>
                  <a:schemeClr val="bg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bg1"/>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2400">
                <a:solidFill>
                  <a:schemeClr val="bg1"/>
                </a:solidFill>
              </a:defRPr>
            </a:lvl1pPr>
            <a:lvl2pPr marL="579438" indent="-230188">
              <a:tabLst/>
              <a:defRPr sz="2200">
                <a:solidFill>
                  <a:schemeClr val="bg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7" name="TextBox 6">
            <a:extLst>
              <a:ext uri="{FF2B5EF4-FFF2-40B4-BE49-F238E27FC236}">
                <a16:creationId xmlns:a16="http://schemas.microsoft.com/office/drawing/2014/main" id="{973E6308-FDAF-1842-B6E5-2E567AC3EB04}"/>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10" name="Picture 9">
            <a:extLst>
              <a:ext uri="{FF2B5EF4-FFF2-40B4-BE49-F238E27FC236}">
                <a16:creationId xmlns:a16="http://schemas.microsoft.com/office/drawing/2014/main" id="{0CD61F71-82C5-804A-A22E-2A883D0D425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94803749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cSld name="Image with callout">
    <p:spTree>
      <p:nvGrpSpPr>
        <p:cNvPr id="1" name=""/>
        <p:cNvGrpSpPr/>
        <p:nvPr/>
      </p:nvGrpSpPr>
      <p:grpSpPr>
        <a:xfrm>
          <a:off x="0" y="0"/>
          <a:ext cx="0" cy="0"/>
          <a:chOff x="0" y="0"/>
          <a:chExt cx="0" cy="0"/>
        </a:xfrm>
      </p:grpSpPr>
      <p:sp>
        <p:nvSpPr>
          <p:cNvPr id="2" name="Title 1"/>
          <p:cNvSpPr>
            <a:spLocks noGrp="1"/>
          </p:cNvSpPr>
          <p:nvPr>
            <p:ph type="title"/>
          </p:nvPr>
        </p:nvSpPr>
        <p:spPr>
          <a:xfrm>
            <a:off x="502920" y="457200"/>
            <a:ext cx="5943599" cy="914400"/>
          </a:xfr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502920" y="2377440"/>
            <a:ext cx="5943600" cy="3200400"/>
          </a:xfrm>
        </p:spPr>
        <p:txBody>
          <a:bodyPr/>
          <a:lstStyle>
            <a:lvl1pPr>
              <a:defRPr sz="3600"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p:txBody>
      </p:sp>
      <p:sp>
        <p:nvSpPr>
          <p:cNvPr id="7" name="Text Placeholder 3">
            <a:extLst>
              <a:ext uri="{FF2B5EF4-FFF2-40B4-BE49-F238E27FC236}">
                <a16:creationId xmlns:a16="http://schemas.microsoft.com/office/drawing/2014/main" id="{E84F98BD-7211-6F4F-BBED-21173E85E972}"/>
              </a:ext>
            </a:extLst>
          </p:cNvPr>
          <p:cNvSpPr>
            <a:spLocks noGrp="1"/>
          </p:cNvSpPr>
          <p:nvPr>
            <p:ph type="body" sz="half" idx="2" hasCustomPrompt="1"/>
          </p:nvPr>
        </p:nvSpPr>
        <p:spPr>
          <a:xfrm>
            <a:off x="502920" y="6215986"/>
            <a:ext cx="5943599"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2969929919"/>
      </p:ext>
    </p:extLst>
  </p:cSld>
  <p:clrMapOvr>
    <a:masterClrMapping/>
  </p:clrMapOvr>
  <p:extLst>
    <p:ext uri="{DCECCB84-F9BA-43D5-87BE-67443E8EF086}">
      <p15:sldGuideLst xmlns:p15="http://schemas.microsoft.com/office/powerpoint/2012/main">
        <p15:guide id="1" orient="horz" pos="4116">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Content with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A0A6FAE-BD6E-FE4A-872E-AD2A1BF980FD}"/>
              </a:ext>
            </a:extLst>
          </p:cNvPr>
          <p:cNvSpPr/>
          <p:nvPr/>
        </p:nvSpPr>
        <p:spPr>
          <a:xfrm>
            <a:off x="5268541" y="1645919"/>
            <a:ext cx="6070019" cy="43891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02919" y="1645920"/>
            <a:ext cx="4354141" cy="4389120"/>
          </a:xfrm>
        </p:spPr>
        <p:txBody>
          <a:bodyPr/>
          <a:lstStyle>
            <a:lvl1pPr>
              <a:defRPr sz="2400"/>
            </a:lvl1pPr>
            <a:lvl2pPr marL="742950" indent="-285750">
              <a:defRPr sz="2200"/>
            </a:lvl2pPr>
            <a:lvl3pPr>
              <a:defRPr sz="20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p:nvPr>
        </p:nvSpPr>
        <p:spPr>
          <a:xfrm>
            <a:off x="502920" y="457200"/>
            <a:ext cx="10835640" cy="914400"/>
          </a:xfrm>
        </p:spPr>
        <p:txBody>
          <a:bodyPr/>
          <a:lstStyle/>
          <a:p>
            <a:r>
              <a:rPr lang="en-US"/>
              <a:t>Click to edit Master title style</a:t>
            </a:r>
          </a:p>
        </p:txBody>
      </p:sp>
      <p:sp>
        <p:nvSpPr>
          <p:cNvPr id="5" name="Chart Placeholder 4">
            <a:extLst>
              <a:ext uri="{FF2B5EF4-FFF2-40B4-BE49-F238E27FC236}">
                <a16:creationId xmlns:a16="http://schemas.microsoft.com/office/drawing/2014/main" id="{83315DEA-0887-EA42-952C-858BB2D8CB19}"/>
              </a:ext>
            </a:extLst>
          </p:cNvPr>
          <p:cNvSpPr>
            <a:spLocks noGrp="1"/>
          </p:cNvSpPr>
          <p:nvPr>
            <p:ph type="chart" sz="quarter" idx="10"/>
          </p:nvPr>
        </p:nvSpPr>
        <p:spPr>
          <a:xfrm>
            <a:off x="5268540" y="1646238"/>
            <a:ext cx="6070019" cy="4389120"/>
          </a:xfrm>
        </p:spPr>
        <p:txBody>
          <a:bodyPr/>
          <a:lstStyle>
            <a:lvl1pPr marL="0" indent="0">
              <a:buNone/>
              <a:defRPr/>
            </a:lvl1pPr>
          </a:lstStyle>
          <a:p>
            <a:r>
              <a:rPr lang="en-US"/>
              <a:t>Click icon to add chart</a:t>
            </a:r>
          </a:p>
        </p:txBody>
      </p:sp>
      <p:sp>
        <p:nvSpPr>
          <p:cNvPr id="9" name="Text Placeholder 3">
            <a:extLst>
              <a:ext uri="{FF2B5EF4-FFF2-40B4-BE49-F238E27FC236}">
                <a16:creationId xmlns:a16="http://schemas.microsoft.com/office/drawing/2014/main" id="{D77FA496-BFF6-F24A-AE6C-A16A0485C98F}"/>
              </a:ext>
            </a:extLst>
          </p:cNvPr>
          <p:cNvSpPr>
            <a:spLocks noGrp="1"/>
          </p:cNvSpPr>
          <p:nvPr>
            <p:ph type="body" sz="half" idx="2"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358773476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3">
            <a:extLst>
              <a:ext uri="{FF2B5EF4-FFF2-40B4-BE49-F238E27FC236}">
                <a16:creationId xmlns:a16="http://schemas.microsoft.com/office/drawing/2014/main" id="{E84F98BD-7211-6F4F-BBED-21173E85E972}"/>
              </a:ext>
            </a:extLst>
          </p:cNvPr>
          <p:cNvSpPr>
            <a:spLocks noGrp="1"/>
          </p:cNvSpPr>
          <p:nvPr>
            <p:ph type="body" sz="half" idx="2"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2832495153"/>
      </p:ext>
    </p:extLst>
  </p:cSld>
  <p:clrMapOvr>
    <a:masterClrMapping/>
  </p:clrMapOvr>
  <p:extLst>
    <p:ext uri="{DCECCB84-F9BA-43D5-87BE-67443E8EF086}">
      <p15:sldGuideLst xmlns:p15="http://schemas.microsoft.com/office/powerpoint/2012/main">
        <p15:guide id="1" orient="horz" pos="4116">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type="obj">
  <p:cSld name="1_Title Only">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3600" b="0" i="0">
                <a:solidFill>
                  <a:srgbClr val="006197"/>
                </a:solidFill>
                <a:latin typeface="Impact"/>
                <a:cs typeface="Impact"/>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2/10/2021</a:t>
            </a:fld>
            <a:endParaRPr lang="en-US"/>
          </a:p>
        </p:txBody>
      </p:sp>
      <p:sp>
        <p:nvSpPr>
          <p:cNvPr id="5" name="Holder 5"/>
          <p:cNvSpPr>
            <a:spLocks noGrp="1"/>
          </p:cNvSpPr>
          <p:nvPr>
            <p:ph type="sldNum" sz="quarter" idx="7"/>
          </p:nvPr>
        </p:nvSpPr>
        <p:spPr/>
        <p:txBody>
          <a:bodyPr lIns="0" tIns="0" rIns="0" bIns="0"/>
          <a:lstStyle>
            <a:lvl1pPr>
              <a:defRPr sz="800" b="0" i="0">
                <a:solidFill>
                  <a:schemeClr val="tx1"/>
                </a:solidFill>
                <a:latin typeface="Arial"/>
                <a:cs typeface="Arial"/>
              </a:defRPr>
            </a:lvl1pPr>
          </a:lstStyle>
          <a:p>
            <a:pPr marL="25400">
              <a:spcBef>
                <a:spcPts val="25"/>
              </a:spcBef>
            </a:pPr>
            <a:fld id="{81D60167-4931-47E6-BA6A-407CBD079E47}" type="slidenum">
              <a:rPr lang="en-US" smtClean="0"/>
              <a:pPr marL="25400">
                <a:spcBef>
                  <a:spcPts val="25"/>
                </a:spcBef>
              </a:pPr>
              <a:t>‹#›</a:t>
            </a:fld>
            <a:endParaRPr lang="en-US"/>
          </a:p>
        </p:txBody>
      </p:sp>
    </p:spTree>
    <p:extLst>
      <p:ext uri="{BB962C8B-B14F-4D97-AF65-F5344CB8AC3E}">
        <p14:creationId xmlns:p14="http://schemas.microsoft.com/office/powerpoint/2010/main" val="416176774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title" preserve="1">
  <p:cSld name="Title Slide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BFF593-1344-9647-892D-3CBA04BB6DB7}"/>
              </a:ext>
            </a:extLst>
          </p:cNvPr>
          <p:cNvSpPr/>
          <p:nvPr/>
        </p:nvSpPr>
        <p:spPr>
          <a:xfrm>
            <a:off x="0" y="-1"/>
            <a:ext cx="12192000" cy="53949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02920" y="1222494"/>
            <a:ext cx="10363200" cy="2743200"/>
          </a:xfrm>
        </p:spPr>
        <p:txBody>
          <a:bodyPr/>
          <a:lstStyle>
            <a:lvl1pPr>
              <a:lnSpc>
                <a:spcPct val="80000"/>
              </a:lnSpc>
              <a:defRPr sz="7200" b="0" cap="all" baseline="0">
                <a:solidFill>
                  <a:schemeClr val="tx2"/>
                </a:solidFill>
                <a:latin typeface="Impact" panose="020B0806030902050204" pitchFamily="34" charset="0"/>
              </a:defRPr>
            </a:lvl1pPr>
          </a:lstStyle>
          <a:p>
            <a:r>
              <a:rPr lang="en-US"/>
              <a:t>Click to</a:t>
            </a:r>
            <a:br>
              <a:rPr lang="en-US"/>
            </a:br>
            <a:r>
              <a:rPr lang="en-US"/>
              <a:t>edit</a:t>
            </a:r>
            <a:br>
              <a:rPr lang="en-US"/>
            </a:br>
            <a:r>
              <a:rPr lang="en-US"/>
              <a:t>title</a:t>
            </a:r>
          </a:p>
        </p:txBody>
      </p:sp>
      <p:sp>
        <p:nvSpPr>
          <p:cNvPr id="3" name="Subtitle 2"/>
          <p:cNvSpPr>
            <a:spLocks noGrp="1"/>
          </p:cNvSpPr>
          <p:nvPr>
            <p:ph type="subTitle" idx="1" hasCustomPrompt="1"/>
          </p:nvPr>
        </p:nvSpPr>
        <p:spPr>
          <a:xfrm>
            <a:off x="502920" y="4240014"/>
            <a:ext cx="5486400" cy="914400"/>
          </a:xfrm>
        </p:spPr>
        <p:txBody>
          <a:bodyPr/>
          <a:lstStyle>
            <a:lvl1pPr marL="0" indent="0" algn="l">
              <a:spcBef>
                <a:spcPts val="0"/>
              </a:spcBef>
              <a:buNone/>
              <a:defRPr sz="20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pic>
        <p:nvPicPr>
          <p:cNvPr id="6" name="Picture 5">
            <a:extLst>
              <a:ext uri="{FF2B5EF4-FFF2-40B4-BE49-F238E27FC236}">
                <a16:creationId xmlns:a16="http://schemas.microsoft.com/office/drawing/2014/main" id="{62FE52AE-6605-2241-9F51-9E7AA16D9709}"/>
              </a:ext>
            </a:extLst>
          </p:cNvPr>
          <p:cNvPicPr>
            <a:picLocks noChangeAspect="1"/>
          </p:cNvPicPr>
          <p:nvPr userDrawn="1"/>
        </p:nvPicPr>
        <p:blipFill>
          <a:blip r:embed="rId2"/>
          <a:stretch>
            <a:fillRect/>
          </a:stretch>
        </p:blipFill>
        <p:spPr>
          <a:xfrm>
            <a:off x="9178376" y="5674566"/>
            <a:ext cx="2470444" cy="920935"/>
          </a:xfrm>
          <a:prstGeom prst="rect">
            <a:avLst/>
          </a:prstGeom>
        </p:spPr>
      </p:pic>
    </p:spTree>
    <p:extLst>
      <p:ext uri="{BB962C8B-B14F-4D97-AF65-F5344CB8AC3E}">
        <p14:creationId xmlns:p14="http://schemas.microsoft.com/office/powerpoint/2010/main" val="66248153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486190" y="493522"/>
            <a:ext cx="11219620" cy="443865"/>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486190" y="3463418"/>
            <a:ext cx="11219620" cy="553998"/>
          </a:xfrm>
          <a:prstGeom prst="rect">
            <a:avLst/>
          </a:prstGeom>
        </p:spPr>
        <p:txBody>
          <a:bodyPr wrap="square" lIns="0" tIns="0" rIns="0" bIns="0">
            <a:spAutoFit/>
          </a:bodyPr>
          <a:lstStyle>
            <a:lvl1pPr>
              <a:defRPr sz="3600" b="1" i="0">
                <a:solidFill>
                  <a:schemeClr val="bg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smtClean="0"/>
              <a:t>2/10/2021</a:t>
            </a:fld>
            <a:endParaRPr lang="en-US"/>
          </a:p>
        </p:txBody>
      </p:sp>
      <p:sp>
        <p:nvSpPr>
          <p:cNvPr id="6" name="Holder 6"/>
          <p:cNvSpPr>
            <a:spLocks noGrp="1"/>
          </p:cNvSpPr>
          <p:nvPr>
            <p:ph type="sldNum" sz="quarter" idx="7"/>
          </p:nvPr>
        </p:nvSpPr>
        <p:spPr/>
        <p:txBody>
          <a:bodyPr lIns="0" tIns="0" rIns="0" bIns="0"/>
          <a:lstStyle>
            <a:lvl1pPr>
              <a:defRPr sz="800" b="0" i="0">
                <a:solidFill>
                  <a:schemeClr val="tx1"/>
                </a:solidFill>
                <a:latin typeface="Arial"/>
                <a:cs typeface="Arial"/>
              </a:defRPr>
            </a:lvl1pPr>
          </a:lstStyle>
          <a:p>
            <a:pPr marL="25400">
              <a:spcBef>
                <a:spcPts val="25"/>
              </a:spcBef>
            </a:pPr>
            <a:fld id="{81D60167-4931-47E6-BA6A-407CBD079E47}" type="slidenum">
              <a:rPr lang="en-US" smtClean="0"/>
              <a:pPr marL="25400">
                <a:spcBef>
                  <a:spcPts val="25"/>
                </a:spcBef>
              </a:pPr>
              <a:t>‹#›</a:t>
            </a:fld>
            <a:endParaRPr lang="en-US"/>
          </a:p>
        </p:txBody>
      </p:sp>
    </p:spTree>
    <p:extLst>
      <p:ext uri="{BB962C8B-B14F-4D97-AF65-F5344CB8AC3E}">
        <p14:creationId xmlns:p14="http://schemas.microsoft.com/office/powerpoint/2010/main" val="22108311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x">
  <p:cSld name="Title - Center">
    <p:spTree>
      <p:nvGrpSpPr>
        <p:cNvPr id="1" name=""/>
        <p:cNvGrpSpPr/>
        <p:nvPr/>
      </p:nvGrpSpPr>
      <p:grpSpPr>
        <a:xfrm>
          <a:off x="0" y="0"/>
          <a:ext cx="0" cy="0"/>
          <a:chOff x="0" y="0"/>
          <a:chExt cx="0" cy="0"/>
        </a:xfrm>
      </p:grpSpPr>
      <p:sp>
        <p:nvSpPr>
          <p:cNvPr id="32" name="Title Text"/>
          <p:cNvSpPr txBox="1">
            <a:spLocks noGrp="1"/>
          </p:cNvSpPr>
          <p:nvPr>
            <p:ph type="title"/>
          </p:nvPr>
        </p:nvSpPr>
        <p:spPr>
          <a:xfrm>
            <a:off x="889000" y="2266950"/>
            <a:ext cx="10414000" cy="2324100"/>
          </a:xfrm>
          <a:prstGeom prst="rect">
            <a:avLst/>
          </a:prstGeom>
        </p:spPr>
        <p:txBody>
          <a:bodyPr/>
          <a:lstStyle/>
          <a:p>
            <a:r>
              <a:t>Title Text</a:t>
            </a:r>
          </a:p>
        </p:txBody>
      </p:sp>
      <p:sp>
        <p:nvSpPr>
          <p:cNvPr id="33"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Tree>
    <p:extLst>
      <p:ext uri="{BB962C8B-B14F-4D97-AF65-F5344CB8AC3E}">
        <p14:creationId xmlns:p14="http://schemas.microsoft.com/office/powerpoint/2010/main" val="1025811379"/>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2_Rest of the slid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6" name="think-cell Slide" r:id="rId4" imgW="377" imgH="377" progId="TCLayout.ActiveDocument.1">
                  <p:embed/>
                </p:oleObj>
              </mc:Choice>
              <mc:Fallback>
                <p:oleObj name="think-cell Slide" r:id="rId4" imgW="377" imgH="377" progId="TCLayout.ActiveDocument.1">
                  <p:embed/>
                  <p:pic>
                    <p:nvPicPr>
                      <p:cNvPr id="2" name="Object 1"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9" name="Title Placeholder 21"/>
          <p:cNvSpPr>
            <a:spLocks noGrp="1"/>
          </p:cNvSpPr>
          <p:nvPr>
            <p:ph type="title"/>
          </p:nvPr>
        </p:nvSpPr>
        <p:spPr>
          <a:xfrm>
            <a:off x="486834" y="254000"/>
            <a:ext cx="11218333" cy="443198"/>
          </a:xfrm>
          <a:prstGeom prst="rect">
            <a:avLst/>
          </a:prstGeom>
        </p:spPr>
        <p:txBody>
          <a:bodyPr vert="horz" lIns="0" tIns="0" rIns="0" bIns="0" anchor="t">
            <a:spAutoFit/>
          </a:bodyPr>
          <a:lstStyle>
            <a:lvl1pPr algn="l" rtl="0" eaLnBrk="1" latinLnBrk="0" hangingPunct="1">
              <a:lnSpc>
                <a:spcPct val="90000"/>
              </a:lnSpc>
              <a:spcBef>
                <a:spcPct val="0"/>
              </a:spcBef>
              <a:buNone/>
              <a:defRPr kumimoji="0" lang="en-US" sz="3200" b="1" kern="1200" dirty="0">
                <a:ln>
                  <a:noFill/>
                </a:ln>
                <a:solidFill>
                  <a:schemeClr val="tx1">
                    <a:lumMod val="75000"/>
                    <a:lumOff val="25000"/>
                  </a:schemeClr>
                </a:solidFill>
                <a:latin typeface="+mj-lt"/>
                <a:ea typeface="+mj-ea"/>
                <a:cs typeface="Arial" pitchFamily="34" charset="0"/>
              </a:defRPr>
            </a:lvl1pPr>
          </a:lstStyle>
          <a:p>
            <a:pPr lvl="0"/>
            <a:r>
              <a:rPr kumimoji="0" lang="en-US"/>
              <a:t>Click to edit Master title style</a:t>
            </a:r>
          </a:p>
        </p:txBody>
      </p:sp>
    </p:spTree>
    <p:extLst>
      <p:ext uri="{BB962C8B-B14F-4D97-AF65-F5344CB8AC3E}">
        <p14:creationId xmlns:p14="http://schemas.microsoft.com/office/powerpoint/2010/main" val="17014947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6A73F5-8C4C-4339-A775-D641105222D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8CCE9B-038D-45B4-8388-9E53F802D2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4FB843-8CC8-4D29-A112-CEF3FC86A031}"/>
              </a:ext>
            </a:extLst>
          </p:cNvPr>
          <p:cNvSpPr>
            <a:spLocks noGrp="1"/>
          </p:cNvSpPr>
          <p:nvPr>
            <p:ph type="dt" sz="half" idx="10"/>
          </p:nvPr>
        </p:nvSpPr>
        <p:spPr/>
        <p:txBody>
          <a:bodyPr/>
          <a:lstStyle/>
          <a:p>
            <a:fld id="{72D932CC-4F5A-414B-92FA-13539BC1C28F}" type="datetimeFigureOut">
              <a:rPr lang="en-US" smtClean="0"/>
              <a:t>2/10/2021</a:t>
            </a:fld>
            <a:endParaRPr lang="en-US"/>
          </a:p>
        </p:txBody>
      </p:sp>
      <p:sp>
        <p:nvSpPr>
          <p:cNvPr id="5" name="Footer Placeholder 4">
            <a:extLst>
              <a:ext uri="{FF2B5EF4-FFF2-40B4-BE49-F238E27FC236}">
                <a16:creationId xmlns:a16="http://schemas.microsoft.com/office/drawing/2014/main" id="{789F61AD-B345-4F2A-BD5D-4D50BCD5C9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D77E0B-D909-4F46-93D0-C6596489DF77}"/>
              </a:ext>
            </a:extLst>
          </p:cNvPr>
          <p:cNvSpPr>
            <a:spLocks noGrp="1"/>
          </p:cNvSpPr>
          <p:nvPr>
            <p:ph type="sldNum" sz="quarter" idx="12"/>
          </p:nvPr>
        </p:nvSpPr>
        <p:spPr/>
        <p:txBody>
          <a:bodyPr/>
          <a:lstStyle/>
          <a:p>
            <a:fld id="{E8E3EFB1-6233-4906-B99B-FD36B58A3C80}" type="slidenum">
              <a:rPr lang="en-US" smtClean="0"/>
              <a:t>‹#›</a:t>
            </a:fld>
            <a:endParaRPr lang="en-US"/>
          </a:p>
        </p:txBody>
      </p:sp>
    </p:spTree>
    <p:extLst>
      <p:ext uri="{BB962C8B-B14F-4D97-AF65-F5344CB8AC3E}">
        <p14:creationId xmlns:p14="http://schemas.microsoft.com/office/powerpoint/2010/main" val="20152745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1892B2-C6FA-4315-B046-1DC9F27A07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AA625925-36AB-49ED-9A02-AB69526B1DCA}"/>
              </a:ext>
            </a:extLst>
          </p:cNvPr>
          <p:cNvSpPr>
            <a:spLocks noGrp="1"/>
          </p:cNvSpPr>
          <p:nvPr>
            <p:ph type="dt" sz="half" idx="10"/>
          </p:nvPr>
        </p:nvSpPr>
        <p:spPr/>
        <p:txBody>
          <a:bodyPr/>
          <a:lstStyle/>
          <a:p>
            <a:fld id="{72D932CC-4F5A-414B-92FA-13539BC1C28F}" type="datetimeFigureOut">
              <a:rPr lang="en-US" smtClean="0"/>
              <a:t>2/10/2021</a:t>
            </a:fld>
            <a:endParaRPr lang="en-US"/>
          </a:p>
        </p:txBody>
      </p:sp>
      <p:sp>
        <p:nvSpPr>
          <p:cNvPr id="4" name="Footer Placeholder 3">
            <a:extLst>
              <a:ext uri="{FF2B5EF4-FFF2-40B4-BE49-F238E27FC236}">
                <a16:creationId xmlns:a16="http://schemas.microsoft.com/office/drawing/2014/main" id="{1A007A87-1062-4416-A4B5-C07113DE187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5ECB17B-0CB1-495D-BFEE-83CCEB7503EC}"/>
              </a:ext>
            </a:extLst>
          </p:cNvPr>
          <p:cNvSpPr>
            <a:spLocks noGrp="1"/>
          </p:cNvSpPr>
          <p:nvPr>
            <p:ph type="sldNum" sz="quarter" idx="12"/>
          </p:nvPr>
        </p:nvSpPr>
        <p:spPr/>
        <p:txBody>
          <a:bodyPr/>
          <a:lstStyle/>
          <a:p>
            <a:fld id="{E8E3EFB1-6233-4906-B99B-FD36B58A3C80}" type="slidenum">
              <a:rPr lang="en-US" smtClean="0"/>
              <a:t>‹#›</a:t>
            </a:fld>
            <a:endParaRPr lang="en-US"/>
          </a:p>
        </p:txBody>
      </p:sp>
    </p:spTree>
    <p:extLst>
      <p:ext uri="{BB962C8B-B14F-4D97-AF65-F5344CB8AC3E}">
        <p14:creationId xmlns:p14="http://schemas.microsoft.com/office/powerpoint/2010/main" val="22645496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BF1E0F-7EAB-49F6-A0C0-41F3ED03FA0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8A287A4-65FD-4AA0-83F9-CD8B6225D6B3}"/>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F28D582-B290-4E20-9EA2-BB3464A9CE6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A9E469-62B5-478B-B475-E65094A6CDEC}"/>
              </a:ext>
            </a:extLst>
          </p:cNvPr>
          <p:cNvSpPr>
            <a:spLocks noGrp="1"/>
          </p:cNvSpPr>
          <p:nvPr>
            <p:ph type="dt" sz="half" idx="10"/>
          </p:nvPr>
        </p:nvSpPr>
        <p:spPr/>
        <p:txBody>
          <a:bodyPr/>
          <a:lstStyle/>
          <a:p>
            <a:fld id="{72D932CC-4F5A-414B-92FA-13539BC1C28F}" type="datetimeFigureOut">
              <a:rPr lang="en-US" smtClean="0"/>
              <a:t>2/10/2021</a:t>
            </a:fld>
            <a:endParaRPr lang="en-US"/>
          </a:p>
        </p:txBody>
      </p:sp>
      <p:sp>
        <p:nvSpPr>
          <p:cNvPr id="6" name="Footer Placeholder 5">
            <a:extLst>
              <a:ext uri="{FF2B5EF4-FFF2-40B4-BE49-F238E27FC236}">
                <a16:creationId xmlns:a16="http://schemas.microsoft.com/office/drawing/2014/main" id="{6F2750B0-4BDE-490D-942A-EBEB97716B5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06D94E0-F5B4-4906-A23E-3B76011895B5}"/>
              </a:ext>
            </a:extLst>
          </p:cNvPr>
          <p:cNvSpPr>
            <a:spLocks noGrp="1"/>
          </p:cNvSpPr>
          <p:nvPr>
            <p:ph type="sldNum" sz="quarter" idx="12"/>
          </p:nvPr>
        </p:nvSpPr>
        <p:spPr/>
        <p:txBody>
          <a:bodyPr/>
          <a:lstStyle/>
          <a:p>
            <a:fld id="{E8E3EFB1-6233-4906-B99B-FD36B58A3C80}" type="slidenum">
              <a:rPr lang="en-US" smtClean="0"/>
              <a:t>‹#›</a:t>
            </a:fld>
            <a:endParaRPr lang="en-US"/>
          </a:p>
        </p:txBody>
      </p:sp>
    </p:spTree>
    <p:extLst>
      <p:ext uri="{BB962C8B-B14F-4D97-AF65-F5344CB8AC3E}">
        <p14:creationId xmlns:p14="http://schemas.microsoft.com/office/powerpoint/2010/main" val="149036522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type="title" preserve="1">
  <p:cSld name="Title Slid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2920" y="1227152"/>
            <a:ext cx="10363200" cy="2743200"/>
          </a:xfrm>
        </p:spPr>
        <p:txBody>
          <a:bodyPr/>
          <a:lstStyle>
            <a:lvl1pPr>
              <a:lnSpc>
                <a:spcPct val="80000"/>
              </a:lnSpc>
              <a:defRPr sz="7200" b="0" cap="all" baseline="0">
                <a:solidFill>
                  <a:schemeClr val="accent1"/>
                </a:solidFill>
                <a:latin typeface="Impact" panose="020B0806030902050204" pitchFamily="34" charset="0"/>
              </a:defRPr>
            </a:lvl1pPr>
          </a:lstStyle>
          <a:p>
            <a:r>
              <a:rPr lang="en-US"/>
              <a:t>Click to</a:t>
            </a:r>
            <a:br>
              <a:rPr lang="en-US"/>
            </a:br>
            <a:r>
              <a:rPr lang="en-US">
                <a:solidFill>
                  <a:schemeClr val="accent2"/>
                </a:solidFill>
              </a:rPr>
              <a:t>edit</a:t>
            </a:r>
            <a:br>
              <a:rPr lang="en-US">
                <a:solidFill>
                  <a:schemeClr val="accent2"/>
                </a:solidFill>
              </a:rPr>
            </a:br>
            <a:r>
              <a:rPr lang="en-US">
                <a:solidFill>
                  <a:schemeClr val="accent3"/>
                </a:solidFill>
              </a:rPr>
              <a:t>title</a:t>
            </a:r>
            <a:endParaRPr lang="en-US"/>
          </a:p>
        </p:txBody>
      </p:sp>
      <p:sp>
        <p:nvSpPr>
          <p:cNvPr id="3" name="Subtitle 2"/>
          <p:cNvSpPr>
            <a:spLocks noGrp="1"/>
          </p:cNvSpPr>
          <p:nvPr>
            <p:ph type="subTitle" idx="1" hasCustomPrompt="1"/>
          </p:nvPr>
        </p:nvSpPr>
        <p:spPr>
          <a:xfrm>
            <a:off x="502920" y="4244672"/>
            <a:ext cx="5486400" cy="914400"/>
          </a:xfrm>
        </p:spPr>
        <p:txBody>
          <a:bodyPr/>
          <a:lstStyle>
            <a:lvl1pPr marL="0" indent="0" algn="l">
              <a:spcBef>
                <a:spcPts val="0"/>
              </a:spcBef>
              <a:buNone/>
              <a:defRPr sz="1800" b="1">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pic>
        <p:nvPicPr>
          <p:cNvPr id="5" name="Picture 4">
            <a:extLst>
              <a:ext uri="{FF2B5EF4-FFF2-40B4-BE49-F238E27FC236}">
                <a16:creationId xmlns:a16="http://schemas.microsoft.com/office/drawing/2014/main" id="{E5C528FC-75EC-8349-859E-827FE75BAA56}"/>
              </a:ext>
            </a:extLst>
          </p:cNvPr>
          <p:cNvPicPr>
            <a:picLocks noChangeAspect="1"/>
          </p:cNvPicPr>
          <p:nvPr userDrawn="1"/>
        </p:nvPicPr>
        <p:blipFill>
          <a:blip r:embed="rId2"/>
          <a:stretch>
            <a:fillRect/>
          </a:stretch>
        </p:blipFill>
        <p:spPr>
          <a:xfrm>
            <a:off x="8296103" y="5674567"/>
            <a:ext cx="3293925" cy="920935"/>
          </a:xfrm>
          <a:prstGeom prst="rect">
            <a:avLst/>
          </a:prstGeom>
        </p:spPr>
      </p:pic>
    </p:spTree>
    <p:extLst>
      <p:ext uri="{BB962C8B-B14F-4D97-AF65-F5344CB8AC3E}">
        <p14:creationId xmlns:p14="http://schemas.microsoft.com/office/powerpoint/2010/main" val="176535431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itle" preserve="1">
  <p:cSld name="1_Title Slid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BFF593-1344-9647-892D-3CBA04BB6DB7}"/>
              </a:ext>
            </a:extLst>
          </p:cNvPr>
          <p:cNvSpPr/>
          <p:nvPr/>
        </p:nvSpPr>
        <p:spPr>
          <a:xfrm>
            <a:off x="0" y="0"/>
            <a:ext cx="12192000" cy="5394960"/>
          </a:xfrm>
          <a:prstGeom prst="rect">
            <a:avLst/>
          </a:prstGeom>
          <a:solidFill>
            <a:srgbClr val="00629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hasCustomPrompt="1"/>
          </p:nvPr>
        </p:nvSpPr>
        <p:spPr>
          <a:xfrm>
            <a:off x="502920" y="1225296"/>
            <a:ext cx="10363200" cy="2743200"/>
          </a:xfrm>
        </p:spPr>
        <p:txBody>
          <a:bodyPr/>
          <a:lstStyle>
            <a:lvl1pPr>
              <a:lnSpc>
                <a:spcPct val="80000"/>
              </a:lnSpc>
              <a:defRPr sz="7200" b="0" cap="all" baseline="0">
                <a:solidFill>
                  <a:srgbClr val="F6F6F6"/>
                </a:solidFill>
                <a:latin typeface="Impact" panose="020B0806030902050204" pitchFamily="34" charset="0"/>
              </a:defRPr>
            </a:lvl1pPr>
          </a:lstStyle>
          <a:p>
            <a:r>
              <a:rPr lang="en-US"/>
              <a:t>Click to </a:t>
            </a:r>
            <a:br>
              <a:rPr lang="en-US"/>
            </a:br>
            <a:r>
              <a:rPr lang="en-US"/>
              <a:t>edit </a:t>
            </a:r>
            <a:br>
              <a:rPr lang="en-US"/>
            </a:br>
            <a:r>
              <a:rPr lang="en-US"/>
              <a:t>title</a:t>
            </a:r>
          </a:p>
        </p:txBody>
      </p:sp>
      <p:sp>
        <p:nvSpPr>
          <p:cNvPr id="3" name="Subtitle 2"/>
          <p:cNvSpPr>
            <a:spLocks noGrp="1"/>
          </p:cNvSpPr>
          <p:nvPr>
            <p:ph type="subTitle" idx="1" hasCustomPrompt="1"/>
          </p:nvPr>
        </p:nvSpPr>
        <p:spPr>
          <a:xfrm>
            <a:off x="499872" y="4244672"/>
            <a:ext cx="5486400" cy="914400"/>
          </a:xfrm>
        </p:spPr>
        <p:txBody>
          <a:bodyPr/>
          <a:lstStyle>
            <a:lvl1pPr marL="0" indent="0" algn="l">
              <a:spcBef>
                <a:spcPts val="0"/>
              </a:spcBef>
              <a:buNone/>
              <a:defRPr sz="1800" b="1">
                <a:solidFill>
                  <a:srgbClr val="F6F6F6"/>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pic>
        <p:nvPicPr>
          <p:cNvPr id="7" name="Picture 6">
            <a:extLst>
              <a:ext uri="{FF2B5EF4-FFF2-40B4-BE49-F238E27FC236}">
                <a16:creationId xmlns:a16="http://schemas.microsoft.com/office/drawing/2014/main" id="{160B5F0D-BB4C-C649-BEB4-2EF34BF5295F}"/>
              </a:ext>
            </a:extLst>
          </p:cNvPr>
          <p:cNvPicPr>
            <a:picLocks noChangeAspect="1"/>
          </p:cNvPicPr>
          <p:nvPr userDrawn="1"/>
        </p:nvPicPr>
        <p:blipFill>
          <a:blip r:embed="rId2"/>
          <a:stretch>
            <a:fillRect/>
          </a:stretch>
        </p:blipFill>
        <p:spPr>
          <a:xfrm>
            <a:off x="8296103" y="5674567"/>
            <a:ext cx="3293925" cy="920935"/>
          </a:xfrm>
          <a:prstGeom prst="rect">
            <a:avLst/>
          </a:prstGeom>
        </p:spPr>
      </p:pic>
    </p:spTree>
    <p:extLst>
      <p:ext uri="{BB962C8B-B14F-4D97-AF65-F5344CB8AC3E}">
        <p14:creationId xmlns:p14="http://schemas.microsoft.com/office/powerpoint/2010/main" val="32459816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BFF593-1344-9647-892D-3CBA04BB6DB7}"/>
              </a:ext>
            </a:extLst>
          </p:cNvPr>
          <p:cNvSpPr/>
          <p:nvPr/>
        </p:nvSpPr>
        <p:spPr>
          <a:xfrm>
            <a:off x="0" y="0"/>
            <a:ext cx="12192000" cy="53949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2" name="Title 1"/>
          <p:cNvSpPr>
            <a:spLocks noGrp="1"/>
          </p:cNvSpPr>
          <p:nvPr>
            <p:ph type="ctrTitle" hasCustomPrompt="1"/>
          </p:nvPr>
        </p:nvSpPr>
        <p:spPr>
          <a:xfrm>
            <a:off x="502920" y="1227152"/>
            <a:ext cx="10363200" cy="2743200"/>
          </a:xfrm>
        </p:spPr>
        <p:txBody>
          <a:bodyPr/>
          <a:lstStyle>
            <a:lvl1pPr>
              <a:lnSpc>
                <a:spcPct val="80000"/>
              </a:lnSpc>
              <a:defRPr sz="7200" b="0" cap="all" baseline="0">
                <a:solidFill>
                  <a:schemeClr val="tx2"/>
                </a:solidFill>
                <a:latin typeface="Impact" panose="020B0806030902050204" pitchFamily="34" charset="0"/>
              </a:defRPr>
            </a:lvl1pPr>
          </a:lstStyle>
          <a:p>
            <a:r>
              <a:rPr lang="en-US"/>
              <a:t>Click to </a:t>
            </a:r>
            <a:br>
              <a:rPr lang="en-US"/>
            </a:br>
            <a:r>
              <a:rPr lang="en-US"/>
              <a:t>edit </a:t>
            </a:r>
            <a:br>
              <a:rPr lang="en-US"/>
            </a:br>
            <a:r>
              <a:rPr lang="en-US"/>
              <a:t>title</a:t>
            </a:r>
          </a:p>
        </p:txBody>
      </p:sp>
      <p:sp>
        <p:nvSpPr>
          <p:cNvPr id="3" name="Subtitle 2"/>
          <p:cNvSpPr>
            <a:spLocks noGrp="1"/>
          </p:cNvSpPr>
          <p:nvPr>
            <p:ph type="subTitle" idx="1" hasCustomPrompt="1"/>
          </p:nvPr>
        </p:nvSpPr>
        <p:spPr>
          <a:xfrm>
            <a:off x="502920" y="4244672"/>
            <a:ext cx="5486400" cy="914400"/>
          </a:xfrm>
        </p:spPr>
        <p:txBody>
          <a:bodyPr/>
          <a:lstStyle>
            <a:lvl1pPr marL="0" indent="0" algn="l">
              <a:spcBef>
                <a:spcPts val="0"/>
              </a:spcBef>
              <a:buNone/>
              <a:defRPr sz="1800" b="1">
                <a:solidFill>
                  <a:schemeClr val="tx2"/>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a:t>
            </a:r>
          </a:p>
        </p:txBody>
      </p:sp>
      <p:pic>
        <p:nvPicPr>
          <p:cNvPr id="7" name="Picture 6">
            <a:extLst>
              <a:ext uri="{FF2B5EF4-FFF2-40B4-BE49-F238E27FC236}">
                <a16:creationId xmlns:a16="http://schemas.microsoft.com/office/drawing/2014/main" id="{23B22AA1-650C-F043-8281-B0CDF3DABD5D}"/>
              </a:ext>
            </a:extLst>
          </p:cNvPr>
          <p:cNvPicPr>
            <a:picLocks noChangeAspect="1"/>
          </p:cNvPicPr>
          <p:nvPr userDrawn="1"/>
        </p:nvPicPr>
        <p:blipFill>
          <a:blip r:embed="rId2"/>
          <a:stretch>
            <a:fillRect/>
          </a:stretch>
        </p:blipFill>
        <p:spPr>
          <a:xfrm>
            <a:off x="8296103" y="5674567"/>
            <a:ext cx="3293925" cy="920935"/>
          </a:xfrm>
          <a:prstGeom prst="rect">
            <a:avLst/>
          </a:prstGeom>
        </p:spPr>
      </p:pic>
    </p:spTree>
    <p:extLst>
      <p:ext uri="{BB962C8B-B14F-4D97-AF65-F5344CB8AC3E}">
        <p14:creationId xmlns:p14="http://schemas.microsoft.com/office/powerpoint/2010/main" val="19591972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EF3EDD-659B-8141-98EB-8EBEBCFD3338}"/>
              </a:ext>
            </a:extLst>
          </p:cNvPr>
          <p:cNvSpPr>
            <a:spLocks noGrp="1"/>
          </p:cNvSpPr>
          <p:nvPr>
            <p:ph type="pic" sz="quarter" idx="10"/>
          </p:nvPr>
        </p:nvSpPr>
        <p:spPr>
          <a:xfrm>
            <a:off x="0" y="0"/>
            <a:ext cx="12192000" cy="5394960"/>
          </a:xfrm>
          <a:solidFill>
            <a:schemeClr val="bg1">
              <a:lumMod val="95000"/>
            </a:schemeClr>
          </a:solidFill>
        </p:spPr>
        <p:txBody>
          <a:bodyPr/>
          <a:lstStyle>
            <a:lvl1pPr algn="ctr">
              <a:defRPr sz="1800"/>
            </a:lvl1pPr>
          </a:lstStyle>
          <a:p>
            <a:r>
              <a:rPr lang="en-US"/>
              <a:t>Click icon to add picture</a:t>
            </a:r>
          </a:p>
        </p:txBody>
      </p:sp>
      <p:sp>
        <p:nvSpPr>
          <p:cNvPr id="2" name="Title 1"/>
          <p:cNvSpPr>
            <a:spLocks noGrp="1"/>
          </p:cNvSpPr>
          <p:nvPr>
            <p:ph type="ctrTitle" hasCustomPrompt="1"/>
          </p:nvPr>
        </p:nvSpPr>
        <p:spPr>
          <a:xfrm>
            <a:off x="502920" y="1227152"/>
            <a:ext cx="10363200" cy="2743200"/>
          </a:xfrm>
        </p:spPr>
        <p:txBody>
          <a:bodyPr/>
          <a:lstStyle>
            <a:lvl1pPr>
              <a:lnSpc>
                <a:spcPct val="80000"/>
              </a:lnSpc>
              <a:defRPr sz="7200" b="0" cap="all" baseline="0">
                <a:solidFill>
                  <a:schemeClr val="accent2"/>
                </a:solidFill>
                <a:latin typeface="Impact" panose="020B0806030902050204" pitchFamily="34" charset="0"/>
              </a:defRPr>
            </a:lvl1pPr>
          </a:lstStyle>
          <a:p>
            <a:r>
              <a:rPr lang="en-US"/>
              <a:t>Click to </a:t>
            </a:r>
            <a:br>
              <a:rPr lang="en-US"/>
            </a:br>
            <a:r>
              <a:rPr lang="en-US"/>
              <a:t>edit </a:t>
            </a:r>
            <a:br>
              <a:rPr lang="en-US"/>
            </a:br>
            <a:r>
              <a:rPr lang="en-US"/>
              <a:t>title</a:t>
            </a:r>
          </a:p>
        </p:txBody>
      </p:sp>
      <p:sp>
        <p:nvSpPr>
          <p:cNvPr id="3" name="Subtitle 2"/>
          <p:cNvSpPr>
            <a:spLocks noGrp="1"/>
          </p:cNvSpPr>
          <p:nvPr>
            <p:ph type="subTitle" idx="1" hasCustomPrompt="1"/>
          </p:nvPr>
        </p:nvSpPr>
        <p:spPr>
          <a:xfrm>
            <a:off x="502920" y="4244672"/>
            <a:ext cx="5486400" cy="914400"/>
          </a:xfrm>
        </p:spPr>
        <p:txBody>
          <a:bodyPr/>
          <a:lstStyle>
            <a:lvl1pPr marL="0" indent="0" algn="l">
              <a:spcBef>
                <a:spcPts val="0"/>
              </a:spcBef>
              <a:buNone/>
              <a:defRPr sz="1800" b="1">
                <a:solidFill>
                  <a:schemeClr val="bg1"/>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Subtitle style</a:t>
            </a:r>
          </a:p>
        </p:txBody>
      </p:sp>
      <p:pic>
        <p:nvPicPr>
          <p:cNvPr id="8" name="Picture 7">
            <a:extLst>
              <a:ext uri="{FF2B5EF4-FFF2-40B4-BE49-F238E27FC236}">
                <a16:creationId xmlns:a16="http://schemas.microsoft.com/office/drawing/2014/main" id="{10EC9D04-772F-8E47-A4D1-388DE80E61F9}"/>
              </a:ext>
            </a:extLst>
          </p:cNvPr>
          <p:cNvPicPr>
            <a:picLocks noChangeAspect="1"/>
          </p:cNvPicPr>
          <p:nvPr userDrawn="1"/>
        </p:nvPicPr>
        <p:blipFill>
          <a:blip r:embed="rId2"/>
          <a:stretch>
            <a:fillRect/>
          </a:stretch>
        </p:blipFill>
        <p:spPr>
          <a:xfrm>
            <a:off x="8296103" y="5674567"/>
            <a:ext cx="3293925" cy="920935"/>
          </a:xfrm>
          <a:prstGeom prst="rect">
            <a:avLst/>
          </a:prstGeom>
        </p:spPr>
      </p:pic>
    </p:spTree>
    <p:extLst>
      <p:ext uri="{BB962C8B-B14F-4D97-AF65-F5344CB8AC3E}">
        <p14:creationId xmlns:p14="http://schemas.microsoft.com/office/powerpoint/2010/main" val="27525682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EF3EDD-659B-8141-98EB-8EBEBCFD3338}"/>
              </a:ext>
            </a:extLst>
          </p:cNvPr>
          <p:cNvSpPr>
            <a:spLocks noGrp="1"/>
          </p:cNvSpPr>
          <p:nvPr>
            <p:ph type="pic" sz="quarter" idx="10"/>
          </p:nvPr>
        </p:nvSpPr>
        <p:spPr>
          <a:xfrm>
            <a:off x="0" y="0"/>
            <a:ext cx="12192000" cy="5394960"/>
          </a:xfrm>
          <a:solidFill>
            <a:schemeClr val="bg1">
              <a:lumMod val="95000"/>
            </a:schemeClr>
          </a:solidFill>
        </p:spPr>
        <p:txBody>
          <a:bodyPr/>
          <a:lstStyle>
            <a:lvl1pPr algn="ctr">
              <a:defRPr/>
            </a:lvl1pPr>
          </a:lstStyle>
          <a:p>
            <a:r>
              <a:rPr lang="en-US"/>
              <a:t>Click icon to add picture</a:t>
            </a:r>
          </a:p>
        </p:txBody>
      </p:sp>
      <p:sp>
        <p:nvSpPr>
          <p:cNvPr id="2" name="Title 1"/>
          <p:cNvSpPr>
            <a:spLocks noGrp="1"/>
          </p:cNvSpPr>
          <p:nvPr>
            <p:ph type="ctrTitle" hasCustomPrompt="1"/>
          </p:nvPr>
        </p:nvSpPr>
        <p:spPr>
          <a:xfrm>
            <a:off x="502920" y="1222494"/>
            <a:ext cx="10363200" cy="2743200"/>
          </a:xfrm>
        </p:spPr>
        <p:txBody>
          <a:bodyPr/>
          <a:lstStyle>
            <a:lvl1pPr>
              <a:lnSpc>
                <a:spcPct val="80000"/>
              </a:lnSpc>
              <a:defRPr sz="7200" b="0" cap="all" baseline="0">
                <a:solidFill>
                  <a:schemeClr val="accent2"/>
                </a:solidFill>
                <a:latin typeface="Impact" panose="020B0806030902050204" pitchFamily="34" charset="0"/>
              </a:defRPr>
            </a:lvl1pPr>
          </a:lstStyle>
          <a:p>
            <a:r>
              <a:rPr lang="en-US"/>
              <a:t>Click to</a:t>
            </a:r>
            <a:br>
              <a:rPr lang="en-US"/>
            </a:br>
            <a:r>
              <a:rPr lang="en-US"/>
              <a:t>edit</a:t>
            </a:r>
            <a:br>
              <a:rPr lang="en-US"/>
            </a:br>
            <a:r>
              <a:rPr lang="en-US"/>
              <a:t>title</a:t>
            </a:r>
          </a:p>
        </p:txBody>
      </p:sp>
      <p:sp>
        <p:nvSpPr>
          <p:cNvPr id="3" name="Subtitle 2"/>
          <p:cNvSpPr>
            <a:spLocks noGrp="1"/>
          </p:cNvSpPr>
          <p:nvPr>
            <p:ph type="subTitle" idx="1" hasCustomPrompt="1"/>
          </p:nvPr>
        </p:nvSpPr>
        <p:spPr>
          <a:xfrm>
            <a:off x="502920" y="4240014"/>
            <a:ext cx="5486400" cy="914400"/>
          </a:xfrm>
        </p:spPr>
        <p:txBody>
          <a:bodyPr/>
          <a:lstStyle>
            <a:lvl1pPr marL="0" indent="0" algn="l">
              <a:spcBef>
                <a:spcPts val="0"/>
              </a:spcBef>
              <a:buNone/>
              <a:defRPr sz="1800" b="1">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7" name="Picture 6">
            <a:extLst>
              <a:ext uri="{FF2B5EF4-FFF2-40B4-BE49-F238E27FC236}">
                <a16:creationId xmlns:a16="http://schemas.microsoft.com/office/drawing/2014/main" id="{46DD1D3F-9CCA-3343-AFB4-CBEC22C70CDC}"/>
              </a:ext>
            </a:extLst>
          </p:cNvPr>
          <p:cNvPicPr>
            <a:picLocks noChangeAspect="1"/>
          </p:cNvPicPr>
          <p:nvPr userDrawn="1"/>
        </p:nvPicPr>
        <p:blipFill>
          <a:blip r:embed="rId2"/>
          <a:stretch>
            <a:fillRect/>
          </a:stretch>
        </p:blipFill>
        <p:spPr>
          <a:xfrm>
            <a:off x="9178376" y="5674566"/>
            <a:ext cx="2470444" cy="920935"/>
          </a:xfrm>
          <a:prstGeom prst="rect">
            <a:avLst/>
          </a:prstGeom>
        </p:spPr>
      </p:pic>
    </p:spTree>
    <p:extLst>
      <p:ext uri="{BB962C8B-B14F-4D97-AF65-F5344CB8AC3E}">
        <p14:creationId xmlns:p14="http://schemas.microsoft.com/office/powerpoint/2010/main" val="372874985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84F98BD-7211-6F4F-BBED-21173E85E972}"/>
              </a:ext>
            </a:extLst>
          </p:cNvPr>
          <p:cNvSpPr>
            <a:spLocks noGrp="1"/>
          </p:cNvSpPr>
          <p:nvPr>
            <p:ph type="body" sz="half" idx="2"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Source style</a:t>
            </a:r>
          </a:p>
        </p:txBody>
      </p:sp>
    </p:spTree>
    <p:extLst>
      <p:ext uri="{BB962C8B-B14F-4D97-AF65-F5344CB8AC3E}">
        <p14:creationId xmlns:p14="http://schemas.microsoft.com/office/powerpoint/2010/main" val="3424166372"/>
      </p:ext>
    </p:extLst>
  </p:cSld>
  <p:clrMapOvr>
    <a:masterClrMapping/>
  </p:clrMapOvr>
  <p:extLst>
    <p:ext uri="{DCECCB84-F9BA-43D5-87BE-67443E8EF086}">
      <p15:sldGuideLst xmlns:p15="http://schemas.microsoft.com/office/powerpoint/2012/main">
        <p15:guide id="1" orient="horz" pos="4116">
          <p15:clr>
            <a:srgbClr val="FBAE40"/>
          </p15:clr>
        </p15:guide>
        <p15:guide id="2" pos="288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2920" y="1645920"/>
            <a:ext cx="5212080" cy="43891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26480" y="1645920"/>
            <a:ext cx="5212080" cy="4389120"/>
          </a:xfrm>
        </p:spPr>
        <p:txBody>
          <a:bodyPr/>
          <a:lstStyle>
            <a:lvl1pPr>
              <a:defRPr sz="1800"/>
            </a:lvl1pPr>
            <a:lvl2pPr>
              <a:defRPr sz="1800"/>
            </a:lvl2pPr>
            <a:lvl3pPr>
              <a:defRPr sz="1800"/>
            </a:lvl3pPr>
            <a:lvl4pPr>
              <a:defRPr sz="1800"/>
            </a:lvl4pPr>
            <a:lvl5pPr>
              <a:defRPr sz="1800"/>
            </a:lvl5pPr>
            <a:lvl6pPr>
              <a:defRPr sz="1350"/>
            </a:lvl6pPr>
            <a:lvl7pPr>
              <a:defRPr sz="1350"/>
            </a:lvl7pPr>
            <a:lvl8pPr>
              <a:defRPr sz="1350"/>
            </a:lvl8pPr>
            <a:lvl9pPr>
              <a:defRPr sz="1350"/>
            </a:lvl9pPr>
          </a:lstStyle>
          <a:p>
            <a:pPr lvl="0"/>
            <a:r>
              <a:rPr lang="en-US"/>
              <a:t>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p:nvPr>
        </p:nvSpPr>
        <p:spPr>
          <a:xfrm>
            <a:off x="502920" y="457200"/>
            <a:ext cx="10835640" cy="914400"/>
          </a:xfrm>
        </p:spPr>
        <p:txBody>
          <a:bodyPr/>
          <a:lstStyle/>
          <a:p>
            <a:r>
              <a:rPr lang="en-US"/>
              <a:t>Click to edit Master title sty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Source style</a:t>
            </a:r>
          </a:p>
        </p:txBody>
      </p:sp>
    </p:spTree>
    <p:extLst>
      <p:ext uri="{BB962C8B-B14F-4D97-AF65-F5344CB8AC3E}">
        <p14:creationId xmlns:p14="http://schemas.microsoft.com/office/powerpoint/2010/main" val="425032569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61C5ED49-76FD-3145-895C-5E04CD07C826}"/>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Source style</a:t>
            </a:r>
          </a:p>
        </p:txBody>
      </p:sp>
    </p:spTree>
    <p:extLst>
      <p:ext uri="{BB962C8B-B14F-4D97-AF65-F5344CB8AC3E}">
        <p14:creationId xmlns:p14="http://schemas.microsoft.com/office/powerpoint/2010/main" val="246251163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itle Only Blue">
    <p:bg>
      <p:bgPr>
        <a:solidFill>
          <a:srgbClr val="006298"/>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6F6F6"/>
                </a:solidFill>
              </a:defRPr>
            </a:lvl1pPr>
          </a:lstStyle>
          <a:p>
            <a:r>
              <a:rPr lang="en-US"/>
              <a:t>Click to edit Master title style</a:t>
            </a:r>
          </a:p>
        </p:txBody>
      </p:sp>
      <p:sp>
        <p:nvSpPr>
          <p:cNvPr id="5" name="Text Placeholder 3">
            <a:extLst>
              <a:ext uri="{FF2B5EF4-FFF2-40B4-BE49-F238E27FC236}">
                <a16:creationId xmlns:a16="http://schemas.microsoft.com/office/drawing/2014/main" id="{7E19B30B-36B8-9C48-89D7-E16260BEA429}"/>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Source style</a:t>
            </a:r>
          </a:p>
        </p:txBody>
      </p:sp>
      <p:sp>
        <p:nvSpPr>
          <p:cNvPr id="7" name="TextBox 6">
            <a:extLst>
              <a:ext uri="{FF2B5EF4-FFF2-40B4-BE49-F238E27FC236}">
                <a16:creationId xmlns:a16="http://schemas.microsoft.com/office/drawing/2014/main" id="{36428186-0BD5-F449-9B1A-D13C561CC1EB}"/>
              </a:ext>
            </a:extLst>
          </p:cNvPr>
          <p:cNvSpPr txBox="1"/>
          <p:nvPr/>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bg1"/>
                </a:solidFill>
                <a:latin typeface="+mn-lt"/>
              </a:rPr>
              <a:t>‹#›</a:t>
            </a:fld>
            <a:endParaRPr lang="en-US" sz="800" b="0">
              <a:solidFill>
                <a:schemeClr val="bg1"/>
              </a:solidFill>
              <a:latin typeface="+mn-lt"/>
            </a:endParaRPr>
          </a:p>
        </p:txBody>
      </p:sp>
      <p:pic>
        <p:nvPicPr>
          <p:cNvPr id="8" name="Picture 7">
            <a:extLst>
              <a:ext uri="{FF2B5EF4-FFF2-40B4-BE49-F238E27FC236}">
                <a16:creationId xmlns:a16="http://schemas.microsoft.com/office/drawing/2014/main" id="{4F2F610A-1144-6741-9B71-1B83F09E201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593899" y="6305006"/>
            <a:ext cx="1744660" cy="280574"/>
          </a:xfrm>
          <a:prstGeom prst="rect">
            <a:avLst/>
          </a:prstGeom>
        </p:spPr>
      </p:pic>
    </p:spTree>
    <p:extLst>
      <p:ext uri="{BB962C8B-B14F-4D97-AF65-F5344CB8AC3E}">
        <p14:creationId xmlns:p14="http://schemas.microsoft.com/office/powerpoint/2010/main" val="388155515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1_Title Only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7E19B30B-36B8-9C48-89D7-E16260BEA429}"/>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Footnote/Source style</a:t>
            </a:r>
          </a:p>
        </p:txBody>
      </p:sp>
      <p:sp>
        <p:nvSpPr>
          <p:cNvPr id="7" name="TextBox 6">
            <a:extLst>
              <a:ext uri="{FF2B5EF4-FFF2-40B4-BE49-F238E27FC236}">
                <a16:creationId xmlns:a16="http://schemas.microsoft.com/office/drawing/2014/main" id="{36428186-0BD5-F449-9B1A-D13C561CC1EB}"/>
              </a:ext>
            </a:extLst>
          </p:cNvPr>
          <p:cNvSpPr txBox="1"/>
          <p:nvPr/>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bg1"/>
                </a:solidFill>
                <a:latin typeface="+mn-lt"/>
              </a:rPr>
              <a:t>‹#›</a:t>
            </a:fld>
            <a:endParaRPr lang="en-US" sz="800" b="0">
              <a:solidFill>
                <a:schemeClr val="bg1"/>
              </a:solidFill>
              <a:latin typeface="+mn-lt"/>
            </a:endParaRPr>
          </a:p>
        </p:txBody>
      </p:sp>
      <p:pic>
        <p:nvPicPr>
          <p:cNvPr id="8" name="Picture 7">
            <a:extLst>
              <a:ext uri="{FF2B5EF4-FFF2-40B4-BE49-F238E27FC236}">
                <a16:creationId xmlns:a16="http://schemas.microsoft.com/office/drawing/2014/main" id="{4F2F610A-1144-6741-9B71-1B83F09E2013}"/>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593899" y="6305006"/>
            <a:ext cx="1744660" cy="280574"/>
          </a:xfrm>
          <a:prstGeom prst="rect">
            <a:avLst/>
          </a:prstGeom>
        </p:spPr>
      </p:pic>
    </p:spTree>
    <p:extLst>
      <p:ext uri="{BB962C8B-B14F-4D97-AF65-F5344CB8AC3E}">
        <p14:creationId xmlns:p14="http://schemas.microsoft.com/office/powerpoint/2010/main" val="376731602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Agenda/TO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 TOC</a:t>
            </a:r>
          </a:p>
        </p:txBody>
      </p:sp>
      <p:sp>
        <p:nvSpPr>
          <p:cNvPr id="3" name="Content Placeholder 2"/>
          <p:cNvSpPr>
            <a:spLocks noGrp="1"/>
          </p:cNvSpPr>
          <p:nvPr>
            <p:ph idx="1" hasCustomPrompt="1"/>
          </p:nvPr>
        </p:nvSpPr>
        <p:spPr/>
        <p:txBody>
          <a:bodyPr/>
          <a:lstStyle>
            <a:lvl1pPr marL="1149350" indent="-1149350">
              <a:buFont typeface="Arial" panose="020B0604020202020204" pitchFamily="34" charset="0"/>
              <a:buNone/>
              <a:tabLst/>
              <a:defRPr b="1">
                <a:solidFill>
                  <a:schemeClr val="tx2"/>
                </a:solidFill>
              </a:defRPr>
            </a:lvl1pPr>
            <a:lvl2pPr>
              <a:defRPr b="1">
                <a:solidFill>
                  <a:schemeClr val="tx2"/>
                </a:solidFill>
              </a:defRPr>
            </a:lvl2pPr>
            <a:lvl3pPr>
              <a:defRPr b="1">
                <a:solidFill>
                  <a:schemeClr val="tx2"/>
                </a:solidFill>
              </a:defRPr>
            </a:lvl3pPr>
            <a:lvl4pPr>
              <a:defRPr b="1">
                <a:solidFill>
                  <a:schemeClr val="tx2"/>
                </a:solidFill>
              </a:defRPr>
            </a:lvl4pPr>
            <a:lvl5pPr>
              <a:defRPr b="1">
                <a:solidFill>
                  <a:schemeClr val="tx2"/>
                </a:solidFill>
              </a:defRPr>
            </a:lvl5pPr>
          </a:lstStyle>
          <a:p>
            <a:pPr lvl="0"/>
            <a:r>
              <a:rPr lang="en-US"/>
              <a:t>Content</a:t>
            </a:r>
          </a:p>
        </p:txBody>
      </p:sp>
    </p:spTree>
    <p:extLst>
      <p:ext uri="{BB962C8B-B14F-4D97-AF65-F5344CB8AC3E}">
        <p14:creationId xmlns:p14="http://schemas.microsoft.com/office/powerpoint/2010/main" val="30665831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type="obj" preserve="1">
  <p:cSld name="Agenda/TOC Blue">
    <p:bg>
      <p:bgPr>
        <a:solidFill>
          <a:srgbClr val="00629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6F6F6"/>
                </a:solidFill>
              </a:defRPr>
            </a:lvl1pPr>
          </a:lstStyle>
          <a:p>
            <a:r>
              <a:rPr lang="en-US"/>
              <a:t>Agenda / TOC </a:t>
            </a:r>
          </a:p>
        </p:txBody>
      </p:sp>
      <p:sp>
        <p:nvSpPr>
          <p:cNvPr id="3" name="Content Placeholder 2"/>
          <p:cNvSpPr>
            <a:spLocks noGrp="1"/>
          </p:cNvSpPr>
          <p:nvPr>
            <p:ph idx="1" hasCustomPrompt="1"/>
          </p:nvPr>
        </p:nvSpPr>
        <p:spPr/>
        <p:txBody>
          <a:bodyPr/>
          <a:lstStyle>
            <a:lvl1pPr marL="1149350" indent="-1149350">
              <a:tabLst/>
              <a:defRPr b="1">
                <a:solidFill>
                  <a:srgbClr val="F6F6F6"/>
                </a:solidFill>
              </a:defRPr>
            </a:lvl1pPr>
            <a:lvl2pPr>
              <a:defRPr b="1">
                <a:solidFill>
                  <a:schemeClr val="tx2"/>
                </a:solidFill>
              </a:defRPr>
            </a:lvl2pPr>
            <a:lvl3pPr>
              <a:defRPr b="1">
                <a:solidFill>
                  <a:schemeClr val="tx2"/>
                </a:solidFill>
              </a:defRPr>
            </a:lvl3pPr>
            <a:lvl4pPr>
              <a:defRPr b="1">
                <a:solidFill>
                  <a:schemeClr val="tx2"/>
                </a:solidFill>
              </a:defRPr>
            </a:lvl4pPr>
            <a:lvl5pPr>
              <a:defRPr b="1">
                <a:solidFill>
                  <a:schemeClr val="tx2"/>
                </a:solidFill>
              </a:defRPr>
            </a:lvl5pPr>
          </a:lstStyle>
          <a:p>
            <a:pPr lvl="0"/>
            <a:r>
              <a:rPr lang="en-US"/>
              <a:t>Content</a:t>
            </a:r>
          </a:p>
        </p:txBody>
      </p:sp>
      <p:sp>
        <p:nvSpPr>
          <p:cNvPr id="6" name="TextBox 5">
            <a:extLst>
              <a:ext uri="{FF2B5EF4-FFF2-40B4-BE49-F238E27FC236}">
                <a16:creationId xmlns:a16="http://schemas.microsoft.com/office/drawing/2014/main" id="{DB8906CB-4B4E-8049-9C79-29734BD7D9A4}"/>
              </a:ext>
            </a:extLst>
          </p:cNvPr>
          <p:cNvSpPr txBox="1"/>
          <p:nvPr/>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bg1"/>
                </a:solidFill>
                <a:latin typeface="+mn-lt"/>
              </a:rPr>
              <a:t>‹#›</a:t>
            </a:fld>
            <a:endParaRPr lang="en-US" sz="800" b="0">
              <a:solidFill>
                <a:schemeClr val="bg1"/>
              </a:solidFill>
              <a:latin typeface="+mn-lt"/>
            </a:endParaRPr>
          </a:p>
        </p:txBody>
      </p:sp>
      <p:pic>
        <p:nvPicPr>
          <p:cNvPr id="7" name="Picture 6">
            <a:extLst>
              <a:ext uri="{FF2B5EF4-FFF2-40B4-BE49-F238E27FC236}">
                <a16:creationId xmlns:a16="http://schemas.microsoft.com/office/drawing/2014/main" id="{41D03DE9-3BEC-ED48-A1F3-0CF412AC2C8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593899" y="6305006"/>
            <a:ext cx="1744660" cy="280574"/>
          </a:xfrm>
          <a:prstGeom prst="rect">
            <a:avLst/>
          </a:prstGeom>
        </p:spPr>
      </p:pic>
    </p:spTree>
    <p:extLst>
      <p:ext uri="{BB962C8B-B14F-4D97-AF65-F5344CB8AC3E}">
        <p14:creationId xmlns:p14="http://schemas.microsoft.com/office/powerpoint/2010/main" val="35781464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type="obj" preserve="1">
  <p:cSld name="1_Agenda/TOC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 TOC </a:t>
            </a:r>
          </a:p>
        </p:txBody>
      </p:sp>
      <p:sp>
        <p:nvSpPr>
          <p:cNvPr id="3" name="Content Placeholder 2"/>
          <p:cNvSpPr>
            <a:spLocks noGrp="1"/>
          </p:cNvSpPr>
          <p:nvPr>
            <p:ph idx="1" hasCustomPrompt="1"/>
          </p:nvPr>
        </p:nvSpPr>
        <p:spPr/>
        <p:txBody>
          <a:bodyPr/>
          <a:lstStyle>
            <a:lvl1pPr marL="1149350" indent="-1149350">
              <a:tabLst/>
              <a:defRPr b="1">
                <a:solidFill>
                  <a:schemeClr val="tx2"/>
                </a:solidFill>
              </a:defRPr>
            </a:lvl1pPr>
            <a:lvl2pPr>
              <a:defRPr b="1">
                <a:solidFill>
                  <a:schemeClr val="tx2"/>
                </a:solidFill>
              </a:defRPr>
            </a:lvl2pPr>
            <a:lvl3pPr>
              <a:defRPr b="1">
                <a:solidFill>
                  <a:schemeClr val="tx2"/>
                </a:solidFill>
              </a:defRPr>
            </a:lvl3pPr>
            <a:lvl4pPr>
              <a:defRPr b="1">
                <a:solidFill>
                  <a:schemeClr val="tx2"/>
                </a:solidFill>
              </a:defRPr>
            </a:lvl4pPr>
            <a:lvl5pPr>
              <a:defRPr b="1">
                <a:solidFill>
                  <a:schemeClr val="tx2"/>
                </a:solidFill>
              </a:defRPr>
            </a:lvl5pPr>
          </a:lstStyle>
          <a:p>
            <a:pPr lvl="0"/>
            <a:r>
              <a:rPr lang="en-US"/>
              <a:t>Content</a:t>
            </a:r>
          </a:p>
        </p:txBody>
      </p:sp>
      <p:sp>
        <p:nvSpPr>
          <p:cNvPr id="6" name="TextBox 5">
            <a:extLst>
              <a:ext uri="{FF2B5EF4-FFF2-40B4-BE49-F238E27FC236}">
                <a16:creationId xmlns:a16="http://schemas.microsoft.com/office/drawing/2014/main" id="{DB8906CB-4B4E-8049-9C79-29734BD7D9A4}"/>
              </a:ext>
            </a:extLst>
          </p:cNvPr>
          <p:cNvSpPr txBox="1"/>
          <p:nvPr/>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bg1"/>
                </a:solidFill>
                <a:latin typeface="+mn-lt"/>
              </a:rPr>
              <a:t>‹#›</a:t>
            </a:fld>
            <a:endParaRPr lang="en-US" sz="800" b="0">
              <a:solidFill>
                <a:schemeClr val="bg1"/>
              </a:solidFill>
              <a:latin typeface="+mn-lt"/>
            </a:endParaRPr>
          </a:p>
        </p:txBody>
      </p:sp>
      <p:pic>
        <p:nvPicPr>
          <p:cNvPr id="7" name="Picture 6">
            <a:extLst>
              <a:ext uri="{FF2B5EF4-FFF2-40B4-BE49-F238E27FC236}">
                <a16:creationId xmlns:a16="http://schemas.microsoft.com/office/drawing/2014/main" id="{41D03DE9-3BEC-ED48-A1F3-0CF412AC2C8B}"/>
              </a:ext>
            </a:extLst>
          </p:cNvPr>
          <p:cNvPicPr>
            <a:picLocks noChangeAspect="1"/>
          </p:cNvPicPr>
          <p:nvPr/>
        </p:nvPicPr>
        <p:blipFill>
          <a:blip r:embed="rId2" cstate="hqprint">
            <a:extLst>
              <a:ext uri="{28A0092B-C50C-407E-A947-70E740481C1C}">
                <a14:useLocalDpi xmlns:a14="http://schemas.microsoft.com/office/drawing/2010/main"/>
              </a:ext>
            </a:extLst>
          </a:blip>
          <a:stretch>
            <a:fillRect/>
          </a:stretch>
        </p:blipFill>
        <p:spPr>
          <a:xfrm>
            <a:off x="9593899" y="6305006"/>
            <a:ext cx="1744660" cy="280574"/>
          </a:xfrm>
          <a:prstGeom prst="rect">
            <a:avLst/>
          </a:prstGeom>
        </p:spPr>
      </p:pic>
    </p:spTree>
    <p:extLst>
      <p:ext uri="{BB962C8B-B14F-4D97-AF65-F5344CB8AC3E}">
        <p14:creationId xmlns:p14="http://schemas.microsoft.com/office/powerpoint/2010/main" val="39189942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2"/>
            <a:ext cx="10363200" cy="1500187"/>
          </a:xfrm>
        </p:spPr>
        <p:txBody>
          <a:bodyPr anchor="t"/>
          <a:lstStyle>
            <a:lvl1pPr marL="0" indent="0">
              <a:spcBef>
                <a:spcPts val="0"/>
              </a:spcBef>
              <a:buNone/>
              <a:defRPr sz="2800" b="1">
                <a:solidFill>
                  <a:schemeClr val="tx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Subtitle</a:t>
            </a:r>
          </a:p>
        </p:txBody>
      </p:sp>
      <p:pic>
        <p:nvPicPr>
          <p:cNvPr id="4" name="Picture 3">
            <a:extLst>
              <a:ext uri="{FF2B5EF4-FFF2-40B4-BE49-F238E27FC236}">
                <a16:creationId xmlns:a16="http://schemas.microsoft.com/office/drawing/2014/main" id="{6F7DFA4B-2DAD-234B-AA30-E15591AC437B}"/>
              </a:ext>
            </a:extLst>
          </p:cNvPr>
          <p:cNvPicPr>
            <a:picLocks noChangeAspect="1"/>
          </p:cNvPicPr>
          <p:nvPr userDrawn="1"/>
        </p:nvPicPr>
        <p:blipFill>
          <a:blip r:embed="rId2"/>
          <a:stretch>
            <a:fillRect/>
          </a:stretch>
        </p:blipFill>
        <p:spPr>
          <a:xfrm>
            <a:off x="8296103" y="5674567"/>
            <a:ext cx="3293925" cy="920935"/>
          </a:xfrm>
          <a:prstGeom prst="rect">
            <a:avLst/>
          </a:prstGeom>
        </p:spPr>
      </p:pic>
      <p:sp>
        <p:nvSpPr>
          <p:cNvPr id="5" name="TextBox 4">
            <a:extLst>
              <a:ext uri="{FF2B5EF4-FFF2-40B4-BE49-F238E27FC236}">
                <a16:creationId xmlns:a16="http://schemas.microsoft.com/office/drawing/2014/main" id="{B9427607-4111-8F4A-972C-462062B1560C}"/>
              </a:ext>
            </a:extLst>
          </p:cNvPr>
          <p:cNvSpPr txBox="1"/>
          <p:nvPr userDrawn="1"/>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tx1"/>
                </a:solidFill>
                <a:latin typeface="+mn-lt"/>
              </a:rPr>
              <a:t>‹#›</a:t>
            </a:fld>
            <a:endParaRPr lang="en-US" sz="800" b="0">
              <a:solidFill>
                <a:schemeClr val="tx1"/>
              </a:solidFill>
              <a:latin typeface="+mn-lt"/>
            </a:endParaRPr>
          </a:p>
        </p:txBody>
      </p:sp>
    </p:spTree>
    <p:extLst>
      <p:ext uri="{BB962C8B-B14F-4D97-AF65-F5344CB8AC3E}">
        <p14:creationId xmlns:p14="http://schemas.microsoft.com/office/powerpoint/2010/main" val="191158195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reserve="1">
  <p:cSld name="1_Section Header Blue">
    <p:bg>
      <p:bgPr>
        <a:solidFill>
          <a:srgbClr val="006298"/>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solidFill>
                  <a:srgbClr val="F6F6F6"/>
                </a:solidFi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2"/>
            <a:ext cx="10363200" cy="1500187"/>
          </a:xfrm>
        </p:spPr>
        <p:txBody>
          <a:bodyPr anchor="t"/>
          <a:lstStyle>
            <a:lvl1pPr marL="0" indent="0">
              <a:spcBef>
                <a:spcPts val="0"/>
              </a:spcBef>
              <a:buNone/>
              <a:defRPr sz="2800" b="1">
                <a:solidFill>
                  <a:srgbClr val="F6F6F6"/>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Subtitle</a:t>
            </a:r>
          </a:p>
        </p:txBody>
      </p:sp>
      <p:sp>
        <p:nvSpPr>
          <p:cNvPr id="6" name="TextBox 5">
            <a:extLst>
              <a:ext uri="{FF2B5EF4-FFF2-40B4-BE49-F238E27FC236}">
                <a16:creationId xmlns:a16="http://schemas.microsoft.com/office/drawing/2014/main" id="{1E45F61D-6BC5-9746-AD01-D98AF26116AF}"/>
              </a:ext>
            </a:extLst>
          </p:cNvPr>
          <p:cNvSpPr txBox="1"/>
          <p:nvPr/>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bg1"/>
                </a:solidFill>
                <a:latin typeface="+mn-lt"/>
              </a:rPr>
              <a:t>‹#›</a:t>
            </a:fld>
            <a:endParaRPr lang="en-US" sz="800" b="0">
              <a:solidFill>
                <a:schemeClr val="bg1"/>
              </a:solidFill>
              <a:latin typeface="+mn-lt"/>
            </a:endParaRPr>
          </a:p>
        </p:txBody>
      </p:sp>
      <p:pic>
        <p:nvPicPr>
          <p:cNvPr id="8" name="Picture 7">
            <a:extLst>
              <a:ext uri="{FF2B5EF4-FFF2-40B4-BE49-F238E27FC236}">
                <a16:creationId xmlns:a16="http://schemas.microsoft.com/office/drawing/2014/main" id="{EAA595B8-A331-414A-89EF-7739438A2092}"/>
              </a:ext>
            </a:extLst>
          </p:cNvPr>
          <p:cNvPicPr>
            <a:picLocks noChangeAspect="1"/>
          </p:cNvPicPr>
          <p:nvPr userDrawn="1"/>
        </p:nvPicPr>
        <p:blipFill>
          <a:blip r:embed="rId2">
            <a:lum bright="100000"/>
          </a:blip>
          <a:stretch>
            <a:fillRect/>
          </a:stretch>
        </p:blipFill>
        <p:spPr>
          <a:xfrm>
            <a:off x="8296103" y="5674567"/>
            <a:ext cx="3293925" cy="920935"/>
          </a:xfrm>
          <a:prstGeom prst="rect">
            <a:avLst/>
          </a:prstGeom>
        </p:spPr>
      </p:pic>
    </p:spTree>
    <p:extLst>
      <p:ext uri="{BB962C8B-B14F-4D97-AF65-F5344CB8AC3E}">
        <p14:creationId xmlns:p14="http://schemas.microsoft.com/office/powerpoint/2010/main" val="27852064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i="0"/>
            </a:lvl1pPr>
          </a:lstStyle>
          <a:p>
            <a:r>
              <a:rPr lang="en-US"/>
              <a:t>Click to edit Master title style</a:t>
            </a:r>
            <a:br>
              <a:rPr lang="en-US"/>
            </a:br>
            <a:endParaRPr lang="en-US"/>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84F98BD-7211-6F4F-BBED-21173E85E972}"/>
              </a:ext>
            </a:extLst>
          </p:cNvPr>
          <p:cNvSpPr>
            <a:spLocks noGrp="1"/>
          </p:cNvSpPr>
          <p:nvPr>
            <p:ph type="body" sz="half" idx="2"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2996079472"/>
      </p:ext>
    </p:extLst>
  </p:cSld>
  <p:clrMapOvr>
    <a:masterClrMapping/>
  </p:clrMapOvr>
  <p:extLst>
    <p:ext uri="{DCECCB84-F9BA-43D5-87BE-67443E8EF086}">
      <p15:sldGuideLst xmlns:p15="http://schemas.microsoft.com/office/powerpoint/2012/main">
        <p15:guide id="1" orient="horz" pos="4116">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secHead" preserve="1">
  <p:cSld name="Section Header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2"/>
            <a:ext cx="10363200" cy="1500187"/>
          </a:xfrm>
        </p:spPr>
        <p:txBody>
          <a:bodyPr anchor="t"/>
          <a:lstStyle>
            <a:lvl1pPr marL="0" indent="0">
              <a:spcBef>
                <a:spcPts val="0"/>
              </a:spcBef>
              <a:buNone/>
              <a:defRPr sz="2800" b="1">
                <a:solidFill>
                  <a:schemeClr val="tx2"/>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Subtitle</a:t>
            </a:r>
          </a:p>
        </p:txBody>
      </p:sp>
      <p:sp>
        <p:nvSpPr>
          <p:cNvPr id="6" name="TextBox 5">
            <a:extLst>
              <a:ext uri="{FF2B5EF4-FFF2-40B4-BE49-F238E27FC236}">
                <a16:creationId xmlns:a16="http://schemas.microsoft.com/office/drawing/2014/main" id="{1E45F61D-6BC5-9746-AD01-D98AF26116AF}"/>
              </a:ext>
            </a:extLst>
          </p:cNvPr>
          <p:cNvSpPr txBox="1"/>
          <p:nvPr/>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bg1"/>
                </a:solidFill>
                <a:latin typeface="+mn-lt"/>
              </a:rPr>
              <a:t>‹#›</a:t>
            </a:fld>
            <a:endParaRPr lang="en-US" sz="800" b="0">
              <a:solidFill>
                <a:schemeClr val="bg1"/>
              </a:solidFill>
              <a:latin typeface="+mn-lt"/>
            </a:endParaRPr>
          </a:p>
        </p:txBody>
      </p:sp>
      <p:pic>
        <p:nvPicPr>
          <p:cNvPr id="8" name="Picture 7">
            <a:extLst>
              <a:ext uri="{FF2B5EF4-FFF2-40B4-BE49-F238E27FC236}">
                <a16:creationId xmlns:a16="http://schemas.microsoft.com/office/drawing/2014/main" id="{AFD20AC9-D740-774C-A0EF-C32D358B1756}"/>
              </a:ext>
            </a:extLst>
          </p:cNvPr>
          <p:cNvPicPr>
            <a:picLocks noChangeAspect="1"/>
          </p:cNvPicPr>
          <p:nvPr userDrawn="1"/>
        </p:nvPicPr>
        <p:blipFill>
          <a:blip r:embed="rId2">
            <a:lum bright="100000"/>
          </a:blip>
          <a:stretch>
            <a:fillRect/>
          </a:stretch>
        </p:blipFill>
        <p:spPr>
          <a:xfrm>
            <a:off x="8296103" y="5674567"/>
            <a:ext cx="3293925" cy="920935"/>
          </a:xfrm>
          <a:prstGeom prst="rect">
            <a:avLst/>
          </a:prstGeom>
        </p:spPr>
      </p:pic>
    </p:spTree>
    <p:extLst>
      <p:ext uri="{BB962C8B-B14F-4D97-AF65-F5344CB8AC3E}">
        <p14:creationId xmlns:p14="http://schemas.microsoft.com/office/powerpoint/2010/main" val="236139357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55502238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Back Page Logo Only">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26DCB62-9AFA-3E49-B4CE-FC9064A14F06}"/>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3758988" y="3053167"/>
            <a:ext cx="4674024" cy="751668"/>
          </a:xfrm>
          <a:prstGeom prst="rect">
            <a:avLst/>
          </a:prstGeom>
        </p:spPr>
      </p:pic>
    </p:spTree>
    <p:extLst>
      <p:ext uri="{BB962C8B-B14F-4D97-AF65-F5344CB8AC3E}">
        <p14:creationId xmlns:p14="http://schemas.microsoft.com/office/powerpoint/2010/main" val="62035204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Back Page Logo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0F9BC29-AA84-4E49-A341-8D3130AF0388}"/>
              </a:ext>
            </a:extLst>
          </p:cNvPr>
          <p:cNvPicPr>
            <a:picLocks noChangeAspect="1"/>
          </p:cNvPicPr>
          <p:nvPr userDrawn="1"/>
        </p:nvPicPr>
        <p:blipFill>
          <a:blip r:embed="rId2"/>
          <a:stretch>
            <a:fillRect/>
          </a:stretch>
        </p:blipFill>
        <p:spPr>
          <a:xfrm>
            <a:off x="3761232" y="2868832"/>
            <a:ext cx="4669536" cy="1305536"/>
          </a:xfrm>
          <a:prstGeom prst="rect">
            <a:avLst/>
          </a:prstGeom>
        </p:spPr>
      </p:pic>
    </p:spTree>
    <p:extLst>
      <p:ext uri="{BB962C8B-B14F-4D97-AF65-F5344CB8AC3E}">
        <p14:creationId xmlns:p14="http://schemas.microsoft.com/office/powerpoint/2010/main" val="321305479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Back Page Logo Taglin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9D58CB-4D5F-D94F-801B-99422283B44F}"/>
              </a:ext>
            </a:extLst>
          </p:cNvPr>
          <p:cNvPicPr>
            <a:picLocks noChangeAspect="1"/>
          </p:cNvPicPr>
          <p:nvPr/>
        </p:nvPicPr>
        <p:blipFill>
          <a:blip r:embed="rId2"/>
          <a:stretch>
            <a:fillRect/>
          </a:stretch>
        </p:blipFill>
        <p:spPr>
          <a:xfrm>
            <a:off x="3758988" y="2900152"/>
            <a:ext cx="4674024" cy="1057699"/>
          </a:xfrm>
          <a:prstGeom prst="rect">
            <a:avLst/>
          </a:prstGeom>
        </p:spPr>
      </p:pic>
    </p:spTree>
    <p:extLst>
      <p:ext uri="{BB962C8B-B14F-4D97-AF65-F5344CB8AC3E}">
        <p14:creationId xmlns:p14="http://schemas.microsoft.com/office/powerpoint/2010/main" val="29633599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cSld name="Three Content Blue">
    <p:bg>
      <p:bgPr>
        <a:solidFill>
          <a:schemeClr val="accent1"/>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1350">
                <a:solidFill>
                  <a:schemeClr val="bg1"/>
                </a:solidFill>
              </a:defRPr>
            </a:lvl1pPr>
            <a:lvl2pPr marL="325934" indent="-129481">
              <a:tabLst/>
              <a:defRPr sz="1238">
                <a:solidFill>
                  <a:schemeClr val="bg1"/>
                </a:solidFill>
              </a:defRPr>
            </a:lvl2pPr>
            <a:lvl3pPr marL="578644" indent="-123230">
              <a:tabLst/>
              <a:defRPr sz="1350">
                <a:solidFill>
                  <a:schemeClr val="bg1"/>
                </a:solidFill>
              </a:defRPr>
            </a:lvl3pPr>
            <a:lvl4pPr>
              <a:defRPr sz="1350"/>
            </a:lvl4pPr>
            <a:lvl5pPr>
              <a:defRPr sz="1350"/>
            </a:lvl5pPr>
            <a:lvl6pPr>
              <a:defRPr sz="1013"/>
            </a:lvl6pPr>
            <a:lvl7pPr>
              <a:defRPr sz="1013"/>
            </a:lvl7pPr>
            <a:lvl8pPr>
              <a:defRPr sz="1013"/>
            </a:lvl8pPr>
            <a:lvl9pPr>
              <a:defRPr sz="1013"/>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1350">
                <a:solidFill>
                  <a:schemeClr val="bg1"/>
                </a:solidFill>
              </a:defRPr>
            </a:lvl1pPr>
            <a:lvl2pPr marL="325934" indent="-129481">
              <a:tabLst/>
              <a:defRPr sz="1238">
                <a:solidFill>
                  <a:schemeClr val="bg1"/>
                </a:solidFill>
              </a:defRPr>
            </a:lvl2pPr>
            <a:lvl3pPr marL="578644" indent="-123230">
              <a:tabLst/>
              <a:defRPr sz="1350">
                <a:solidFill>
                  <a:schemeClr val="bg1"/>
                </a:solidFill>
              </a:defRPr>
            </a:lvl3pPr>
            <a:lvl4pPr>
              <a:defRPr sz="1350"/>
            </a:lvl4pPr>
            <a:lvl5pPr>
              <a:defRPr sz="1350"/>
            </a:lvl5pPr>
            <a:lvl6pPr>
              <a:defRPr sz="1013"/>
            </a:lvl6pPr>
            <a:lvl7pPr>
              <a:defRPr sz="1013"/>
            </a:lvl7pPr>
            <a:lvl8pPr>
              <a:defRPr sz="1013"/>
            </a:lvl8pPr>
            <a:lvl9pPr>
              <a:defRPr sz="1013"/>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bg1"/>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450" b="0">
                <a:solidFill>
                  <a:schemeClr val="bg1"/>
                </a:solidFill>
              </a:defRPr>
            </a:lvl1pPr>
            <a:lvl2pPr marL="257175" indent="0">
              <a:buNone/>
              <a:defRPr sz="675"/>
            </a:lvl2pPr>
            <a:lvl3pPr marL="514350" indent="0">
              <a:buNone/>
              <a:defRPr sz="563"/>
            </a:lvl3pPr>
            <a:lvl4pPr marL="771525" indent="0">
              <a:buNone/>
              <a:defRPr sz="506"/>
            </a:lvl4pPr>
            <a:lvl5pPr marL="1028700" indent="0">
              <a:buNone/>
              <a:defRPr sz="506"/>
            </a:lvl5pPr>
            <a:lvl6pPr marL="1285875" indent="0">
              <a:buNone/>
              <a:defRPr sz="506"/>
            </a:lvl6pPr>
            <a:lvl7pPr marL="1543050" indent="0">
              <a:buNone/>
              <a:defRPr sz="506"/>
            </a:lvl7pPr>
            <a:lvl8pPr marL="1800225" indent="0">
              <a:buNone/>
              <a:defRPr sz="506"/>
            </a:lvl8pPr>
            <a:lvl9pPr marL="2057400" indent="0">
              <a:buNone/>
              <a:defRPr sz="506"/>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1350">
                <a:solidFill>
                  <a:schemeClr val="bg1"/>
                </a:solidFill>
              </a:defRPr>
            </a:lvl1pPr>
            <a:lvl2pPr marL="325934" indent="-129481">
              <a:tabLst/>
              <a:defRPr sz="1238">
                <a:solidFill>
                  <a:schemeClr val="bg1"/>
                </a:solidFill>
              </a:defRPr>
            </a:lvl2pPr>
            <a:lvl3pPr marL="578644" indent="-123230">
              <a:tabLst/>
              <a:defRPr sz="1350">
                <a:solidFill>
                  <a:schemeClr val="bg1"/>
                </a:solidFill>
              </a:defRPr>
            </a:lvl3pPr>
            <a:lvl4pPr>
              <a:defRPr sz="1350"/>
            </a:lvl4pPr>
            <a:lvl5pPr>
              <a:defRPr sz="1350"/>
            </a:lvl5pPr>
            <a:lvl6pPr>
              <a:defRPr sz="1013"/>
            </a:lvl6pPr>
            <a:lvl7pPr>
              <a:defRPr sz="1013"/>
            </a:lvl7pPr>
            <a:lvl8pPr>
              <a:defRPr sz="1013"/>
            </a:lvl8pPr>
            <a:lvl9pPr>
              <a:defRPr sz="1013"/>
            </a:lvl9pPr>
          </a:lstStyle>
          <a:p>
            <a:pPr lvl="0"/>
            <a:r>
              <a:rPr lang="en-US"/>
              <a:t>Edit Master Content</a:t>
            </a:r>
          </a:p>
          <a:p>
            <a:pPr lvl="1"/>
            <a:r>
              <a:rPr lang="en-US"/>
              <a:t>Second level</a:t>
            </a:r>
          </a:p>
        </p:txBody>
      </p:sp>
      <p:sp>
        <p:nvSpPr>
          <p:cNvPr id="7" name="TextBox 6">
            <a:extLst>
              <a:ext uri="{FF2B5EF4-FFF2-40B4-BE49-F238E27FC236}">
                <a16:creationId xmlns:a16="http://schemas.microsoft.com/office/drawing/2014/main" id="{973E6308-FDAF-1842-B6E5-2E567AC3EB04}"/>
              </a:ext>
            </a:extLst>
          </p:cNvPr>
          <p:cNvSpPr txBox="1"/>
          <p:nvPr/>
        </p:nvSpPr>
        <p:spPr>
          <a:xfrm>
            <a:off x="11629220" y="6383903"/>
            <a:ext cx="324657" cy="230832"/>
          </a:xfrm>
          <a:prstGeom prst="rect">
            <a:avLst/>
          </a:prstGeom>
          <a:noFill/>
        </p:spPr>
        <p:txBody>
          <a:bodyPr wrap="none" lIns="0" rIns="0" rtlCol="0">
            <a:noAutofit/>
          </a:bodyPr>
          <a:lstStyle/>
          <a:p>
            <a:fld id="{E923BF6E-735E-374E-9377-9F34A0EA27A7}" type="slidenum">
              <a:rPr lang="en-US" sz="506" b="0" smtClean="0">
                <a:solidFill>
                  <a:schemeClr val="bg1"/>
                </a:solidFill>
                <a:latin typeface="+mn-lt"/>
              </a:rPr>
              <a:t>‹#›</a:t>
            </a:fld>
            <a:endParaRPr lang="en-US" sz="506" b="0">
              <a:solidFill>
                <a:schemeClr val="bg1"/>
              </a:solidFill>
              <a:latin typeface="+mn-lt"/>
            </a:endParaRPr>
          </a:p>
        </p:txBody>
      </p:sp>
      <p:pic>
        <p:nvPicPr>
          <p:cNvPr id="10" name="Picture 9">
            <a:extLst>
              <a:ext uri="{FF2B5EF4-FFF2-40B4-BE49-F238E27FC236}">
                <a16:creationId xmlns:a16="http://schemas.microsoft.com/office/drawing/2014/main" id="{0CD61F71-82C5-804A-A22E-2A883D0D425F}"/>
              </a:ext>
            </a:extLst>
          </p:cNvPr>
          <p:cNvPicPr>
            <a:picLocks noChangeAspect="1"/>
          </p:cNvPicPr>
          <p:nvPr/>
        </p:nvPicPr>
        <p:blipFill>
          <a:blip r:embed="rId2"/>
          <a:stretch>
            <a:fillRect/>
          </a:stretch>
        </p:blipFill>
        <p:spPr>
          <a:xfrm>
            <a:off x="10030067" y="6305006"/>
            <a:ext cx="1308495" cy="280574"/>
          </a:xfrm>
          <a:prstGeom prst="rect">
            <a:avLst/>
          </a:prstGeom>
        </p:spPr>
      </p:pic>
    </p:spTree>
    <p:extLst>
      <p:ext uri="{BB962C8B-B14F-4D97-AF65-F5344CB8AC3E}">
        <p14:creationId xmlns:p14="http://schemas.microsoft.com/office/powerpoint/2010/main" val="174446054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itle" preserve="1">
  <p:cSld name="Title Slide Whit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02920" y="1280160"/>
            <a:ext cx="10363200" cy="2743200"/>
          </a:xfrm>
        </p:spPr>
        <p:txBody>
          <a:bodyPr/>
          <a:lstStyle>
            <a:lvl1pPr>
              <a:lnSpc>
                <a:spcPct val="80000"/>
              </a:lnSpc>
              <a:defRPr sz="7200" b="0" cap="all" baseline="0">
                <a:solidFill>
                  <a:schemeClr val="accent1"/>
                </a:solidFill>
                <a:latin typeface="Impact" panose="020B0806030902050204" pitchFamily="34" charset="0"/>
              </a:defRPr>
            </a:lvl1pPr>
          </a:lstStyle>
          <a:p>
            <a:r>
              <a:rPr lang="en-US"/>
              <a:t>Click to</a:t>
            </a:r>
            <a:br>
              <a:rPr lang="en-US"/>
            </a:br>
            <a:r>
              <a:rPr lang="en-US">
                <a:solidFill>
                  <a:schemeClr val="accent2"/>
                </a:solidFill>
              </a:rPr>
              <a:t>edit </a:t>
            </a:r>
            <a:br>
              <a:rPr lang="en-US">
                <a:solidFill>
                  <a:schemeClr val="accent2"/>
                </a:solidFill>
              </a:rPr>
            </a:br>
            <a:r>
              <a:rPr lang="en-US">
                <a:solidFill>
                  <a:schemeClr val="accent3"/>
                </a:solidFill>
              </a:rPr>
              <a:t>title</a:t>
            </a:r>
            <a:endParaRPr lang="en-US"/>
          </a:p>
        </p:txBody>
      </p:sp>
      <p:sp>
        <p:nvSpPr>
          <p:cNvPr id="3" name="Subtitle 2"/>
          <p:cNvSpPr>
            <a:spLocks noGrp="1"/>
          </p:cNvSpPr>
          <p:nvPr>
            <p:ph type="subTitle" idx="1" hasCustomPrompt="1"/>
          </p:nvPr>
        </p:nvSpPr>
        <p:spPr>
          <a:xfrm>
            <a:off x="502920" y="4297680"/>
            <a:ext cx="5486400" cy="914400"/>
          </a:xfrm>
        </p:spPr>
        <p:txBody>
          <a:bodyPr/>
          <a:lstStyle>
            <a:lvl1pPr marL="0" indent="0" algn="l">
              <a:spcBef>
                <a:spcPts val="0"/>
              </a:spcBef>
              <a:buNone/>
              <a:defRPr sz="20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pic>
        <p:nvPicPr>
          <p:cNvPr id="6" name="Picture 5">
            <a:extLst>
              <a:ext uri="{FF2B5EF4-FFF2-40B4-BE49-F238E27FC236}">
                <a16:creationId xmlns:a16="http://schemas.microsoft.com/office/drawing/2014/main" id="{7CCB0E02-459A-4611-950D-F32EA422965F}"/>
              </a:ext>
            </a:extLst>
          </p:cNvPr>
          <p:cNvPicPr>
            <a:picLocks noChangeAspect="1"/>
          </p:cNvPicPr>
          <p:nvPr userDrawn="1"/>
        </p:nvPicPr>
        <p:blipFill>
          <a:blip r:embed="rId2"/>
          <a:stretch>
            <a:fillRect/>
          </a:stretch>
        </p:blipFill>
        <p:spPr>
          <a:xfrm>
            <a:off x="9111912" y="5674566"/>
            <a:ext cx="2470444" cy="920935"/>
          </a:xfrm>
          <a:prstGeom prst="rect">
            <a:avLst/>
          </a:prstGeom>
        </p:spPr>
      </p:pic>
    </p:spTree>
    <p:extLst>
      <p:ext uri="{BB962C8B-B14F-4D97-AF65-F5344CB8AC3E}">
        <p14:creationId xmlns:p14="http://schemas.microsoft.com/office/powerpoint/2010/main" val="167579265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 preserve="1">
  <p:cSld name="Title Slide Teal">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1BFF593-1344-9647-892D-3CBA04BB6DB7}"/>
              </a:ext>
            </a:extLst>
          </p:cNvPr>
          <p:cNvSpPr/>
          <p:nvPr/>
        </p:nvSpPr>
        <p:spPr>
          <a:xfrm>
            <a:off x="0" y="0"/>
            <a:ext cx="12192000" cy="544326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502920" y="1280160"/>
            <a:ext cx="10363200" cy="2743200"/>
          </a:xfrm>
        </p:spPr>
        <p:txBody>
          <a:bodyPr/>
          <a:lstStyle>
            <a:lvl1pPr>
              <a:lnSpc>
                <a:spcPct val="80000"/>
              </a:lnSpc>
              <a:defRPr sz="7200" b="0" cap="all" baseline="0">
                <a:solidFill>
                  <a:schemeClr val="tx2"/>
                </a:solidFill>
                <a:latin typeface="Impact" panose="020B0806030902050204" pitchFamily="34" charset="0"/>
              </a:defRPr>
            </a:lvl1pPr>
          </a:lstStyle>
          <a:p>
            <a:r>
              <a:rPr lang="en-US"/>
              <a:t>Click to</a:t>
            </a:r>
            <a:br>
              <a:rPr lang="en-US"/>
            </a:br>
            <a:r>
              <a:rPr lang="en-US"/>
              <a:t>edit</a:t>
            </a:r>
            <a:br>
              <a:rPr lang="en-US"/>
            </a:br>
            <a:r>
              <a:rPr lang="en-US"/>
              <a:t>title</a:t>
            </a:r>
          </a:p>
        </p:txBody>
      </p:sp>
      <p:sp>
        <p:nvSpPr>
          <p:cNvPr id="3" name="Subtitle 2"/>
          <p:cNvSpPr>
            <a:spLocks noGrp="1"/>
          </p:cNvSpPr>
          <p:nvPr>
            <p:ph type="subTitle" idx="1" hasCustomPrompt="1"/>
          </p:nvPr>
        </p:nvSpPr>
        <p:spPr>
          <a:xfrm>
            <a:off x="502920" y="4297680"/>
            <a:ext cx="5486400" cy="914400"/>
          </a:xfrm>
        </p:spPr>
        <p:txBody>
          <a:bodyPr/>
          <a:lstStyle>
            <a:lvl1pPr marL="0" indent="0" algn="l">
              <a:spcBef>
                <a:spcPts val="0"/>
              </a:spcBef>
              <a:buNone/>
              <a:defRPr sz="2000" b="1">
                <a:solidFill>
                  <a:schemeClr val="tx2"/>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a:t>
            </a:r>
          </a:p>
        </p:txBody>
      </p:sp>
      <p:pic>
        <p:nvPicPr>
          <p:cNvPr id="9" name="Picture 8">
            <a:extLst>
              <a:ext uri="{FF2B5EF4-FFF2-40B4-BE49-F238E27FC236}">
                <a16:creationId xmlns:a16="http://schemas.microsoft.com/office/drawing/2014/main" id="{7A5E5CEB-BC2B-4FD0-9BB3-3A7BC93C5D3C}"/>
              </a:ext>
            </a:extLst>
          </p:cNvPr>
          <p:cNvPicPr>
            <a:picLocks noChangeAspect="1"/>
          </p:cNvPicPr>
          <p:nvPr userDrawn="1"/>
        </p:nvPicPr>
        <p:blipFill>
          <a:blip r:embed="rId2"/>
          <a:stretch>
            <a:fillRect/>
          </a:stretch>
        </p:blipFill>
        <p:spPr>
          <a:xfrm>
            <a:off x="9111912" y="5674566"/>
            <a:ext cx="2470444" cy="920935"/>
          </a:xfrm>
          <a:prstGeom prst="rect">
            <a:avLst/>
          </a:prstGeom>
        </p:spPr>
      </p:pic>
    </p:spTree>
    <p:extLst>
      <p:ext uri="{BB962C8B-B14F-4D97-AF65-F5344CB8AC3E}">
        <p14:creationId xmlns:p14="http://schemas.microsoft.com/office/powerpoint/2010/main" val="349160236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itle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09EF3EDD-659B-8141-98EB-8EBEBCFD3338}"/>
              </a:ext>
            </a:extLst>
          </p:cNvPr>
          <p:cNvSpPr>
            <a:spLocks noGrp="1"/>
          </p:cNvSpPr>
          <p:nvPr>
            <p:ph type="pic" sz="quarter" idx="10"/>
          </p:nvPr>
        </p:nvSpPr>
        <p:spPr>
          <a:xfrm>
            <a:off x="0" y="0"/>
            <a:ext cx="12192000" cy="5408762"/>
          </a:xfrm>
          <a:solidFill>
            <a:schemeClr val="bg1">
              <a:lumMod val="95000"/>
            </a:schemeClr>
          </a:solidFill>
        </p:spPr>
        <p:txBody>
          <a:bodyPr/>
          <a:lstStyle>
            <a:lvl1pPr algn="ctr">
              <a:defRPr/>
            </a:lvl1pPr>
          </a:lstStyle>
          <a:p>
            <a:r>
              <a:rPr lang="en-US"/>
              <a:t>Click icon to add picture</a:t>
            </a:r>
          </a:p>
        </p:txBody>
      </p:sp>
      <p:sp>
        <p:nvSpPr>
          <p:cNvPr id="2" name="Title 1"/>
          <p:cNvSpPr>
            <a:spLocks noGrp="1"/>
          </p:cNvSpPr>
          <p:nvPr>
            <p:ph type="ctrTitle" hasCustomPrompt="1"/>
          </p:nvPr>
        </p:nvSpPr>
        <p:spPr>
          <a:xfrm>
            <a:off x="502920" y="1280160"/>
            <a:ext cx="10363200" cy="2743200"/>
          </a:xfrm>
        </p:spPr>
        <p:txBody>
          <a:bodyPr/>
          <a:lstStyle>
            <a:lvl1pPr>
              <a:lnSpc>
                <a:spcPct val="80000"/>
              </a:lnSpc>
              <a:defRPr sz="7200" b="0" cap="all" baseline="0">
                <a:solidFill>
                  <a:schemeClr val="accent2"/>
                </a:solidFill>
                <a:latin typeface="Impact" panose="020B0806030902050204" pitchFamily="34" charset="0"/>
              </a:defRPr>
            </a:lvl1pPr>
          </a:lstStyle>
          <a:p>
            <a:r>
              <a:rPr lang="en-US"/>
              <a:t>Click to</a:t>
            </a:r>
            <a:br>
              <a:rPr lang="en-US"/>
            </a:br>
            <a:r>
              <a:rPr lang="en-US"/>
              <a:t>edit</a:t>
            </a:r>
            <a:br>
              <a:rPr lang="en-US"/>
            </a:br>
            <a:r>
              <a:rPr lang="en-US"/>
              <a:t>title</a:t>
            </a:r>
          </a:p>
        </p:txBody>
      </p:sp>
      <p:sp>
        <p:nvSpPr>
          <p:cNvPr id="3" name="Subtitle 2"/>
          <p:cNvSpPr>
            <a:spLocks noGrp="1"/>
          </p:cNvSpPr>
          <p:nvPr>
            <p:ph type="subTitle" idx="1" hasCustomPrompt="1"/>
          </p:nvPr>
        </p:nvSpPr>
        <p:spPr>
          <a:xfrm>
            <a:off x="502920" y="4297680"/>
            <a:ext cx="5486400" cy="914400"/>
          </a:xfrm>
        </p:spPr>
        <p:txBody>
          <a:bodyPr/>
          <a:lstStyle>
            <a:lvl1pPr marL="0" indent="0" algn="l">
              <a:spcBef>
                <a:spcPts val="0"/>
              </a:spcBef>
              <a:buNone/>
              <a:defRPr sz="2000" b="1">
                <a:solidFill>
                  <a:schemeClr val="accent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Subtitle style</a:t>
            </a:r>
          </a:p>
        </p:txBody>
      </p:sp>
      <p:pic>
        <p:nvPicPr>
          <p:cNvPr id="7" name="Picture 6">
            <a:extLst>
              <a:ext uri="{FF2B5EF4-FFF2-40B4-BE49-F238E27FC236}">
                <a16:creationId xmlns:a16="http://schemas.microsoft.com/office/drawing/2014/main" id="{7507469A-7AFE-4B92-A3EB-5DDAA0E9A773}"/>
              </a:ext>
            </a:extLst>
          </p:cNvPr>
          <p:cNvPicPr>
            <a:picLocks noChangeAspect="1"/>
          </p:cNvPicPr>
          <p:nvPr userDrawn="1"/>
        </p:nvPicPr>
        <p:blipFill>
          <a:blip r:embed="rId2"/>
          <a:stretch>
            <a:fillRect/>
          </a:stretch>
        </p:blipFill>
        <p:spPr>
          <a:xfrm>
            <a:off x="9111912" y="5674566"/>
            <a:ext cx="2470444" cy="920935"/>
          </a:xfrm>
          <a:prstGeom prst="rect">
            <a:avLst/>
          </a:prstGeom>
        </p:spPr>
      </p:pic>
    </p:spTree>
    <p:extLst>
      <p:ext uri="{BB962C8B-B14F-4D97-AF65-F5344CB8AC3E}">
        <p14:creationId xmlns:p14="http://schemas.microsoft.com/office/powerpoint/2010/main" val="27911408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i="0"/>
            </a:lvl1pPr>
          </a:lstStyle>
          <a:p>
            <a:r>
              <a:rPr lang="en-US"/>
              <a:t>Click to edit Master title style</a:t>
            </a:r>
            <a:br>
              <a:rPr lang="en-US"/>
            </a:br>
            <a:endParaRPr lang="en-US"/>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3">
            <a:extLst>
              <a:ext uri="{FF2B5EF4-FFF2-40B4-BE49-F238E27FC236}">
                <a16:creationId xmlns:a16="http://schemas.microsoft.com/office/drawing/2014/main" id="{E84F98BD-7211-6F4F-BBED-21173E85E972}"/>
              </a:ext>
            </a:extLst>
          </p:cNvPr>
          <p:cNvSpPr>
            <a:spLocks noGrp="1"/>
          </p:cNvSpPr>
          <p:nvPr>
            <p:ph type="body" sz="half" idx="2"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1326244109"/>
      </p:ext>
    </p:extLst>
  </p:cSld>
  <p:clrMapOvr>
    <a:masterClrMapping/>
  </p:clrMapOvr>
  <p:extLst>
    <p:ext uri="{DCECCB84-F9BA-43D5-87BE-67443E8EF086}">
      <p15:sldGuideLst xmlns:p15="http://schemas.microsoft.com/office/powerpoint/2012/main">
        <p15:guide id="1" orient="horz" pos="4116">
          <p15:clr>
            <a:srgbClr val="FBAE40"/>
          </p15:clr>
        </p15:guide>
        <p15:guide id="2"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2920" y="1645920"/>
            <a:ext cx="5212080" cy="4389120"/>
          </a:xfrm>
        </p:spPr>
        <p:txBody>
          <a:bodyPr/>
          <a:lstStyle>
            <a:lvl1pPr>
              <a:defRPr sz="2400"/>
            </a:lvl1pPr>
            <a:lvl2pPr>
              <a:defRPr sz="2200"/>
            </a:lvl2pPr>
            <a:lvl3pPr>
              <a:defRPr sz="20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26480" y="1645920"/>
            <a:ext cx="5212080" cy="4389120"/>
          </a:xfrm>
        </p:spPr>
        <p:txBody>
          <a:bodyPr/>
          <a:lstStyle>
            <a:lvl1pPr>
              <a:defRPr sz="2400"/>
            </a:lvl1pPr>
            <a:lvl2pPr>
              <a:defRPr sz="2200"/>
            </a:lvl2pPr>
            <a:lvl3pPr>
              <a:defRPr sz="20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p:nvPr>
        </p:nvSpPr>
        <p:spPr>
          <a:xfrm>
            <a:off x="502920" y="457200"/>
            <a:ext cx="10835640" cy="914400"/>
          </a:xfrm>
        </p:spPr>
        <p:txBody>
          <a:bodyPr/>
          <a:lstStyle/>
          <a:p>
            <a:r>
              <a:rPr lang="en-US"/>
              <a:t>Click to edit Master title sty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264992418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2920" y="1645920"/>
            <a:ext cx="5212080" cy="4389120"/>
          </a:xfrm>
        </p:spPr>
        <p:txBody>
          <a:bodyPr/>
          <a:lstStyle>
            <a:lvl1pPr>
              <a:defRPr sz="2400"/>
            </a:lvl1pPr>
            <a:lvl2pPr>
              <a:defRPr sz="2200"/>
            </a:lvl2pPr>
            <a:lvl3pPr>
              <a:defRPr sz="20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26480" y="1645920"/>
            <a:ext cx="5212080" cy="4389120"/>
          </a:xfrm>
        </p:spPr>
        <p:txBody>
          <a:bodyPr/>
          <a:lstStyle>
            <a:lvl1pPr>
              <a:defRPr sz="2400"/>
            </a:lvl1pPr>
            <a:lvl2pPr>
              <a:defRPr sz="2200"/>
            </a:lvl2pPr>
            <a:lvl3pPr>
              <a:defRPr sz="20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p:nvPr>
        </p:nvSpPr>
        <p:spPr>
          <a:xfrm>
            <a:off x="502920" y="457200"/>
            <a:ext cx="10835640" cy="914400"/>
          </a:xfrm>
        </p:spPr>
        <p:txBody>
          <a:bodyPr/>
          <a:lstStyle/>
          <a:p>
            <a:r>
              <a:rPr lang="en-US"/>
              <a:t>Click to edit Master title sty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354545008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61C5ED49-76FD-3145-895C-5E04CD07C826}"/>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39680856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Only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6F6F6"/>
                </a:solidFill>
              </a:defRPr>
            </a:lvl1pPr>
          </a:lstStyle>
          <a:p>
            <a:r>
              <a:rPr lang="en-US"/>
              <a:t>Click to edit Master title style</a:t>
            </a:r>
          </a:p>
        </p:txBody>
      </p:sp>
      <p:sp>
        <p:nvSpPr>
          <p:cNvPr id="3" name="TextBox 2">
            <a:extLst>
              <a:ext uri="{FF2B5EF4-FFF2-40B4-BE49-F238E27FC236}">
                <a16:creationId xmlns:a16="http://schemas.microsoft.com/office/drawing/2014/main" id="{30CF1BCB-BED2-7046-B660-B679A08680C8}"/>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sp>
        <p:nvSpPr>
          <p:cNvPr id="5" name="Text Placeholder 3">
            <a:extLst>
              <a:ext uri="{FF2B5EF4-FFF2-40B4-BE49-F238E27FC236}">
                <a16:creationId xmlns:a16="http://schemas.microsoft.com/office/drawing/2014/main" id="{7E19B30B-36B8-9C48-89D7-E16260BEA429}"/>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pic>
        <p:nvPicPr>
          <p:cNvPr id="6" name="Picture 5">
            <a:extLst>
              <a:ext uri="{FF2B5EF4-FFF2-40B4-BE49-F238E27FC236}">
                <a16:creationId xmlns:a16="http://schemas.microsoft.com/office/drawing/2014/main" id="{0A24A276-69C6-2243-845D-F91B87013672}"/>
              </a:ext>
            </a:extLst>
          </p:cNvPr>
          <p:cNvPicPr>
            <a:picLocks noChangeAspect="1"/>
          </p:cNvPicPr>
          <p:nvPr/>
        </p:nvPicPr>
        <p:blipFill>
          <a:blip r:embed="rId2"/>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36909005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1_Title Only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Box 2">
            <a:extLst>
              <a:ext uri="{FF2B5EF4-FFF2-40B4-BE49-F238E27FC236}">
                <a16:creationId xmlns:a16="http://schemas.microsoft.com/office/drawing/2014/main" id="{30CF1BCB-BED2-7046-B660-B679A08680C8}"/>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sp>
        <p:nvSpPr>
          <p:cNvPr id="5" name="Text Placeholder 3">
            <a:extLst>
              <a:ext uri="{FF2B5EF4-FFF2-40B4-BE49-F238E27FC236}">
                <a16:creationId xmlns:a16="http://schemas.microsoft.com/office/drawing/2014/main" id="{7E19B30B-36B8-9C48-89D7-E16260BEA429}"/>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pic>
        <p:nvPicPr>
          <p:cNvPr id="6" name="Picture 5">
            <a:extLst>
              <a:ext uri="{FF2B5EF4-FFF2-40B4-BE49-F238E27FC236}">
                <a16:creationId xmlns:a16="http://schemas.microsoft.com/office/drawing/2014/main" id="{0A24A276-69C6-2243-845D-F91B87013672}"/>
              </a:ext>
            </a:extLst>
          </p:cNvPr>
          <p:cNvPicPr>
            <a:picLocks noChangeAspect="1"/>
          </p:cNvPicPr>
          <p:nvPr/>
        </p:nvPicPr>
        <p:blipFill>
          <a:blip r:embed="rId2"/>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5721899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TO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 Table of Contents</a:t>
            </a:r>
          </a:p>
        </p:txBody>
      </p:sp>
      <p:sp>
        <p:nvSpPr>
          <p:cNvPr id="4" name="TextBox 3">
            <a:extLst>
              <a:ext uri="{FF2B5EF4-FFF2-40B4-BE49-F238E27FC236}">
                <a16:creationId xmlns:a16="http://schemas.microsoft.com/office/drawing/2014/main" id="{A29F7266-67A4-1049-AF82-D46B7BB3E129}"/>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8" name="Picture 7">
            <a:extLst>
              <a:ext uri="{FF2B5EF4-FFF2-40B4-BE49-F238E27FC236}">
                <a16:creationId xmlns:a16="http://schemas.microsoft.com/office/drawing/2014/main" id="{536CDB0A-E650-6843-8D3F-3F25126FD9D5}"/>
              </a:ext>
            </a:extLst>
          </p:cNvPr>
          <p:cNvPicPr>
            <a:picLocks noChangeAspect="1"/>
          </p:cNvPicPr>
          <p:nvPr/>
        </p:nvPicPr>
        <p:blipFill>
          <a:blip r:embed="rId2"/>
          <a:stretch>
            <a:fillRect/>
          </a:stretch>
        </p:blipFill>
        <p:spPr>
          <a:xfrm>
            <a:off x="10030064" y="6305006"/>
            <a:ext cx="1308495" cy="280574"/>
          </a:xfrm>
          <a:prstGeom prst="rect">
            <a:avLst/>
          </a:prstGeom>
        </p:spPr>
      </p:pic>
      <p:sp>
        <p:nvSpPr>
          <p:cNvPr id="6" name="TextBox 5">
            <a:extLst>
              <a:ext uri="{FF2B5EF4-FFF2-40B4-BE49-F238E27FC236}">
                <a16:creationId xmlns:a16="http://schemas.microsoft.com/office/drawing/2014/main" id="{63979F30-A114-4736-B4D4-AB10C75D3742}"/>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tx1"/>
                </a:solidFill>
                <a:latin typeface="+mn-lt"/>
              </a:rPr>
              <a:t>‹#›</a:t>
            </a:fld>
            <a:endParaRPr lang="en-US" sz="900" b="0">
              <a:solidFill>
                <a:schemeClr val="tx1"/>
              </a:solidFill>
              <a:latin typeface="+mn-lt"/>
            </a:endParaRPr>
          </a:p>
        </p:txBody>
      </p:sp>
      <p:sp>
        <p:nvSpPr>
          <p:cNvPr id="9" name="Content Placeholder 2">
            <a:extLst>
              <a:ext uri="{FF2B5EF4-FFF2-40B4-BE49-F238E27FC236}">
                <a16:creationId xmlns:a16="http://schemas.microsoft.com/office/drawing/2014/main" id="{6D843DDB-C9AB-4577-8954-0B000BFF9162}"/>
              </a:ext>
            </a:extLst>
          </p:cNvPr>
          <p:cNvSpPr>
            <a:spLocks noGrp="1"/>
          </p:cNvSpPr>
          <p:nvPr>
            <p:ph idx="1"/>
          </p:nvPr>
        </p:nvSpPr>
        <p:spPr>
          <a:xfrm>
            <a:off x="502920" y="1645920"/>
            <a:ext cx="10835640" cy="4384766"/>
          </a:xfrm>
        </p:spPr>
        <p:txBody>
          <a:bodyPr/>
          <a:lstStyle>
            <a:lvl1pPr>
              <a:defRPr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0" name="Picture 9">
            <a:extLst>
              <a:ext uri="{FF2B5EF4-FFF2-40B4-BE49-F238E27FC236}">
                <a16:creationId xmlns:a16="http://schemas.microsoft.com/office/drawing/2014/main" id="{9720E757-87BD-4223-B3EA-1C16BC0DA0ED}"/>
              </a:ext>
            </a:extLst>
          </p:cNvPr>
          <p:cNvPicPr>
            <a:picLocks noChangeAspect="1"/>
          </p:cNvPicPr>
          <p:nvPr userDrawn="1"/>
        </p:nvPicPr>
        <p:blipFill>
          <a:blip r:embed="rId3"/>
          <a:stretch>
            <a:fillRect/>
          </a:stretch>
        </p:blipFill>
        <p:spPr>
          <a:xfrm>
            <a:off x="9719712" y="6099062"/>
            <a:ext cx="1618847" cy="603476"/>
          </a:xfrm>
          <a:prstGeom prst="rect">
            <a:avLst/>
          </a:prstGeom>
        </p:spPr>
      </p:pic>
    </p:spTree>
    <p:extLst>
      <p:ext uri="{BB962C8B-B14F-4D97-AF65-F5344CB8AC3E}">
        <p14:creationId xmlns:p14="http://schemas.microsoft.com/office/powerpoint/2010/main" val="35551132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TOC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rgbClr val="F6F6F6"/>
                </a:solidFill>
              </a:defRPr>
            </a:lvl1pPr>
          </a:lstStyle>
          <a:p>
            <a:r>
              <a:rPr lang="en-US"/>
              <a:t>Agenda / Table of Contents </a:t>
            </a:r>
          </a:p>
        </p:txBody>
      </p:sp>
      <p:sp>
        <p:nvSpPr>
          <p:cNvPr id="4" name="TextBox 3">
            <a:extLst>
              <a:ext uri="{FF2B5EF4-FFF2-40B4-BE49-F238E27FC236}">
                <a16:creationId xmlns:a16="http://schemas.microsoft.com/office/drawing/2014/main" id="{A29F7266-67A4-1049-AF82-D46B7BB3E129}"/>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8" name="Picture 7">
            <a:extLst>
              <a:ext uri="{FF2B5EF4-FFF2-40B4-BE49-F238E27FC236}">
                <a16:creationId xmlns:a16="http://schemas.microsoft.com/office/drawing/2014/main" id="{536CDB0A-E650-6843-8D3F-3F25126FD9D5}"/>
              </a:ext>
            </a:extLst>
          </p:cNvPr>
          <p:cNvPicPr>
            <a:picLocks noChangeAspect="1"/>
          </p:cNvPicPr>
          <p:nvPr/>
        </p:nvPicPr>
        <p:blipFill>
          <a:blip r:embed="rId2"/>
          <a:stretch>
            <a:fillRect/>
          </a:stretch>
        </p:blipFill>
        <p:spPr>
          <a:xfrm>
            <a:off x="10030064" y="6305006"/>
            <a:ext cx="1308495" cy="280574"/>
          </a:xfrm>
          <a:prstGeom prst="rect">
            <a:avLst/>
          </a:prstGeom>
        </p:spPr>
      </p:pic>
      <p:sp>
        <p:nvSpPr>
          <p:cNvPr id="6" name="Content Placeholder 2">
            <a:extLst>
              <a:ext uri="{FF2B5EF4-FFF2-40B4-BE49-F238E27FC236}">
                <a16:creationId xmlns:a16="http://schemas.microsoft.com/office/drawing/2014/main" id="{F61F56C8-BA20-478B-B64B-2923E463E15F}"/>
              </a:ext>
            </a:extLst>
          </p:cNvPr>
          <p:cNvSpPr>
            <a:spLocks noGrp="1"/>
          </p:cNvSpPr>
          <p:nvPr>
            <p:ph idx="1"/>
          </p:nvPr>
        </p:nvSpPr>
        <p:spPr>
          <a:xfrm>
            <a:off x="502920" y="1645920"/>
            <a:ext cx="10835640" cy="4384766"/>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872036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1_Agenda/TOC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a:t>Agenda / Table of Contents </a:t>
            </a:r>
          </a:p>
        </p:txBody>
      </p:sp>
      <p:sp>
        <p:nvSpPr>
          <p:cNvPr id="4" name="TextBox 3">
            <a:extLst>
              <a:ext uri="{FF2B5EF4-FFF2-40B4-BE49-F238E27FC236}">
                <a16:creationId xmlns:a16="http://schemas.microsoft.com/office/drawing/2014/main" id="{A29F7266-67A4-1049-AF82-D46B7BB3E129}"/>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8" name="Picture 7">
            <a:extLst>
              <a:ext uri="{FF2B5EF4-FFF2-40B4-BE49-F238E27FC236}">
                <a16:creationId xmlns:a16="http://schemas.microsoft.com/office/drawing/2014/main" id="{536CDB0A-E650-6843-8D3F-3F25126FD9D5}"/>
              </a:ext>
            </a:extLst>
          </p:cNvPr>
          <p:cNvPicPr>
            <a:picLocks noChangeAspect="1"/>
          </p:cNvPicPr>
          <p:nvPr/>
        </p:nvPicPr>
        <p:blipFill>
          <a:blip r:embed="rId2"/>
          <a:stretch>
            <a:fillRect/>
          </a:stretch>
        </p:blipFill>
        <p:spPr>
          <a:xfrm>
            <a:off x="10030064" y="6305006"/>
            <a:ext cx="1308495" cy="280574"/>
          </a:xfrm>
          <a:prstGeom prst="rect">
            <a:avLst/>
          </a:prstGeom>
        </p:spPr>
      </p:pic>
      <p:sp>
        <p:nvSpPr>
          <p:cNvPr id="6" name="Content Placeholder 2">
            <a:extLst>
              <a:ext uri="{FF2B5EF4-FFF2-40B4-BE49-F238E27FC236}">
                <a16:creationId xmlns:a16="http://schemas.microsoft.com/office/drawing/2014/main" id="{5AEF0369-BD33-48BB-9DC3-6432231CAB31}"/>
              </a:ext>
            </a:extLst>
          </p:cNvPr>
          <p:cNvSpPr>
            <a:spLocks noGrp="1"/>
          </p:cNvSpPr>
          <p:nvPr>
            <p:ph idx="1"/>
          </p:nvPr>
        </p:nvSpPr>
        <p:spPr>
          <a:xfrm>
            <a:off x="502920" y="1645920"/>
            <a:ext cx="10835640" cy="4384766"/>
          </a:xfrm>
        </p:spPr>
        <p:txBody>
          <a:bodyPr/>
          <a:lstStyle>
            <a:lvl1pPr>
              <a:defRPr b="1">
                <a:solidFill>
                  <a:schemeClr val="tx2"/>
                </a:solidFill>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20676411"/>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BCE6585-A889-4923-BF3A-E80216FE9FA7}"/>
              </a:ext>
            </a:extLst>
          </p:cNvPr>
          <p:cNvPicPr>
            <a:picLocks noChangeAspect="1"/>
          </p:cNvPicPr>
          <p:nvPr userDrawn="1"/>
        </p:nvPicPr>
        <p:blipFill>
          <a:blip r:embed="rId2"/>
          <a:stretch>
            <a:fillRect/>
          </a:stretch>
        </p:blipFill>
        <p:spPr>
          <a:xfrm>
            <a:off x="9111912" y="5674566"/>
            <a:ext cx="2470444" cy="920935"/>
          </a:xfrm>
          <a:prstGeom prst="rect">
            <a:avLst/>
          </a:prstGeom>
        </p:spPr>
      </p:pic>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0"/>
            <a:ext cx="10363200" cy="1500187"/>
          </a:xfrm>
        </p:spPr>
        <p:txBody>
          <a:bodyPr anchor="t"/>
          <a:lstStyle>
            <a:lvl1pPr marL="0" indent="0">
              <a:spcBef>
                <a:spcPts val="0"/>
              </a:spcBef>
              <a:buNone/>
              <a:defRPr sz="2800" b="1">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title</a:t>
            </a:r>
          </a:p>
        </p:txBody>
      </p:sp>
      <p:sp>
        <p:nvSpPr>
          <p:cNvPr id="8" name="TextBox 7">
            <a:extLst>
              <a:ext uri="{FF2B5EF4-FFF2-40B4-BE49-F238E27FC236}">
                <a16:creationId xmlns:a16="http://schemas.microsoft.com/office/drawing/2014/main" id="{305B1D86-D5DD-B644-B414-9C55D1616CFE}"/>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rgbClr val="000000"/>
                </a:solidFill>
                <a:latin typeface="+mn-lt"/>
              </a:rPr>
              <a:t>‹#›</a:t>
            </a:fld>
            <a:endParaRPr lang="en-US" sz="900" b="0">
              <a:solidFill>
                <a:srgbClr val="000000"/>
              </a:solidFill>
              <a:latin typeface="+mn-lt"/>
            </a:endParaRPr>
          </a:p>
        </p:txBody>
      </p:sp>
    </p:spTree>
    <p:extLst>
      <p:ext uri="{BB962C8B-B14F-4D97-AF65-F5344CB8AC3E}">
        <p14:creationId xmlns:p14="http://schemas.microsoft.com/office/powerpoint/2010/main" val="27552221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secHead" preserve="1">
  <p:cSld name="Section Header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solidFill>
                  <a:srgbClr val="F6F6F6"/>
                </a:solidFi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0"/>
            <a:ext cx="10363200" cy="1500187"/>
          </a:xfrm>
        </p:spPr>
        <p:txBody>
          <a:bodyPr anchor="t"/>
          <a:lstStyle>
            <a:lvl1pPr marL="0" indent="0">
              <a:spcBef>
                <a:spcPts val="0"/>
              </a:spcBef>
              <a:buNone/>
              <a:defRPr sz="2800" b="1">
                <a:solidFill>
                  <a:srgbClr val="F6F6F6"/>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title</a:t>
            </a:r>
          </a:p>
        </p:txBody>
      </p:sp>
      <p:sp>
        <p:nvSpPr>
          <p:cNvPr id="8" name="TextBox 7">
            <a:extLst>
              <a:ext uri="{FF2B5EF4-FFF2-40B4-BE49-F238E27FC236}">
                <a16:creationId xmlns:a16="http://schemas.microsoft.com/office/drawing/2014/main" id="{305B1D86-D5DD-B644-B414-9C55D1616CFE}"/>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5" name="Picture 4">
            <a:extLst>
              <a:ext uri="{FF2B5EF4-FFF2-40B4-BE49-F238E27FC236}">
                <a16:creationId xmlns:a16="http://schemas.microsoft.com/office/drawing/2014/main" id="{7FE1FCB2-26AC-43AE-A082-3A807E103D82}"/>
              </a:ext>
            </a:extLst>
          </p:cNvPr>
          <p:cNvPicPr>
            <a:picLocks noChangeAspect="1"/>
          </p:cNvPicPr>
          <p:nvPr userDrawn="1"/>
        </p:nvPicPr>
        <p:blipFill>
          <a:blip r:embed="rId2"/>
          <a:stretch>
            <a:fillRect/>
          </a:stretch>
        </p:blipFill>
        <p:spPr>
          <a:xfrm>
            <a:off x="9114740" y="5670661"/>
            <a:ext cx="2472526" cy="923544"/>
          </a:xfrm>
          <a:prstGeom prst="rect">
            <a:avLst/>
          </a:prstGeom>
        </p:spPr>
      </p:pic>
    </p:spTree>
    <p:extLst>
      <p:ext uri="{BB962C8B-B14F-4D97-AF65-F5344CB8AC3E}">
        <p14:creationId xmlns:p14="http://schemas.microsoft.com/office/powerpoint/2010/main" val="214438824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secHead" preserve="1">
  <p:cSld name="1_Section Header Teal">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2920" y="2377441"/>
            <a:ext cx="10363200" cy="1051560"/>
          </a:xfrm>
        </p:spPr>
        <p:txBody>
          <a:bodyPr anchor="t"/>
          <a:lstStyle>
            <a:lvl1pPr algn="l">
              <a:lnSpc>
                <a:spcPct val="80000"/>
              </a:lnSpc>
              <a:defRPr sz="6000" b="0" cap="all">
                <a:latin typeface="Impact" panose="020B0806030902050204" pitchFamily="34" charset="0"/>
              </a:defRPr>
            </a:lvl1pPr>
          </a:lstStyle>
          <a:p>
            <a:r>
              <a:rPr lang="en-US"/>
              <a:t>Section divider</a:t>
            </a:r>
          </a:p>
        </p:txBody>
      </p:sp>
      <p:sp>
        <p:nvSpPr>
          <p:cNvPr id="3" name="Text Placeholder 2"/>
          <p:cNvSpPr>
            <a:spLocks noGrp="1"/>
          </p:cNvSpPr>
          <p:nvPr>
            <p:ph type="body" idx="1" hasCustomPrompt="1"/>
          </p:nvPr>
        </p:nvSpPr>
        <p:spPr>
          <a:xfrm>
            <a:off x="502920" y="3429000"/>
            <a:ext cx="10363200" cy="1500187"/>
          </a:xfrm>
        </p:spPr>
        <p:txBody>
          <a:bodyPr anchor="t"/>
          <a:lstStyle>
            <a:lvl1pPr marL="0" indent="0">
              <a:spcBef>
                <a:spcPts val="0"/>
              </a:spcBef>
              <a:buNone/>
              <a:defRPr sz="2800" b="1">
                <a:solidFill>
                  <a:schemeClr val="tx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Subtitle</a:t>
            </a:r>
          </a:p>
        </p:txBody>
      </p:sp>
      <p:sp>
        <p:nvSpPr>
          <p:cNvPr id="8" name="TextBox 7">
            <a:extLst>
              <a:ext uri="{FF2B5EF4-FFF2-40B4-BE49-F238E27FC236}">
                <a16:creationId xmlns:a16="http://schemas.microsoft.com/office/drawing/2014/main" id="{305B1D86-D5DD-B644-B414-9C55D1616CFE}"/>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6" name="Picture 5">
            <a:extLst>
              <a:ext uri="{FF2B5EF4-FFF2-40B4-BE49-F238E27FC236}">
                <a16:creationId xmlns:a16="http://schemas.microsoft.com/office/drawing/2014/main" id="{73C4474D-FE81-44DB-8395-3141D9D9C92F}"/>
              </a:ext>
            </a:extLst>
          </p:cNvPr>
          <p:cNvPicPr>
            <a:picLocks noChangeAspect="1"/>
          </p:cNvPicPr>
          <p:nvPr userDrawn="1"/>
        </p:nvPicPr>
        <p:blipFill>
          <a:blip r:embed="rId2"/>
          <a:stretch>
            <a:fillRect/>
          </a:stretch>
        </p:blipFill>
        <p:spPr>
          <a:xfrm>
            <a:off x="9114740" y="5670661"/>
            <a:ext cx="2472526" cy="923544"/>
          </a:xfrm>
          <a:prstGeom prst="rect">
            <a:avLst/>
          </a:prstGeom>
        </p:spPr>
      </p:pic>
    </p:spTree>
    <p:extLst>
      <p:ext uri="{BB962C8B-B14F-4D97-AF65-F5344CB8AC3E}">
        <p14:creationId xmlns:p14="http://schemas.microsoft.com/office/powerpoint/2010/main" val="48774909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2920" y="1645920"/>
            <a:ext cx="5212080" cy="4389120"/>
          </a:xfrm>
        </p:spPr>
        <p:txBody>
          <a:bodyPr/>
          <a:lstStyle>
            <a:lvl1pPr>
              <a:defRPr sz="2400"/>
            </a:lvl1pPr>
            <a:lvl2pPr>
              <a:defRPr sz="2200"/>
            </a:lvl2pPr>
            <a:lvl3pPr>
              <a:defRPr sz="20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p:nvPr>
        </p:nvSpPr>
        <p:spPr>
          <a:xfrm>
            <a:off x="502920" y="457200"/>
            <a:ext cx="10835640" cy="914400"/>
          </a:xfrm>
        </p:spPr>
        <p:txBody>
          <a:bodyPr/>
          <a:lstStyle/>
          <a:p>
            <a:r>
              <a:rPr lang="en-US"/>
              <a:t>Click to edit Master title sty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370904910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576752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p:cSld name="Back Page Logo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AE67010-C785-A549-A8C2-92420F9611E1}"/>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4343242" y="3053167"/>
            <a:ext cx="3505518" cy="751668"/>
          </a:xfrm>
          <a:prstGeom prst="rect">
            <a:avLst/>
          </a:prstGeom>
        </p:spPr>
      </p:pic>
    </p:spTree>
    <p:extLst>
      <p:ext uri="{BB962C8B-B14F-4D97-AF65-F5344CB8AC3E}">
        <p14:creationId xmlns:p14="http://schemas.microsoft.com/office/powerpoint/2010/main" val="520552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Back Page Logo Taglin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C2014D-256F-4323-B8A9-6F3E807391DB}"/>
              </a:ext>
            </a:extLst>
          </p:cNvPr>
          <p:cNvPicPr>
            <a:picLocks noChangeAspect="1"/>
          </p:cNvPicPr>
          <p:nvPr userDrawn="1"/>
        </p:nvPicPr>
        <p:blipFill>
          <a:blip r:embed="rId2"/>
          <a:stretch>
            <a:fillRect/>
          </a:stretch>
        </p:blipFill>
        <p:spPr>
          <a:xfrm>
            <a:off x="4365031" y="2868832"/>
            <a:ext cx="3502152" cy="1305536"/>
          </a:xfrm>
          <a:prstGeom prst="rect">
            <a:avLst/>
          </a:prstGeom>
        </p:spPr>
      </p:pic>
    </p:spTree>
    <p:extLst>
      <p:ext uri="{BB962C8B-B14F-4D97-AF65-F5344CB8AC3E}">
        <p14:creationId xmlns:p14="http://schemas.microsoft.com/office/powerpoint/2010/main" val="36338721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cSld name="Title Slid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49C43DE-453D-3D4A-A607-60D93A2A71E2}"/>
              </a:ext>
            </a:extLst>
          </p:cNvPr>
          <p:cNvSpPr/>
          <p:nvPr/>
        </p:nvSpPr>
        <p:spPr>
          <a:xfrm>
            <a:off x="0" y="1"/>
            <a:ext cx="12192000" cy="545189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 name="Title 1"/>
          <p:cNvSpPr>
            <a:spLocks noGrp="1"/>
          </p:cNvSpPr>
          <p:nvPr>
            <p:ph type="ctrTitle" hasCustomPrompt="1"/>
          </p:nvPr>
        </p:nvSpPr>
        <p:spPr>
          <a:xfrm>
            <a:off x="502920" y="1280160"/>
            <a:ext cx="10363200" cy="2743200"/>
          </a:xfrm>
        </p:spPr>
        <p:txBody>
          <a:bodyPr/>
          <a:lstStyle>
            <a:lvl1pPr>
              <a:lnSpc>
                <a:spcPct val="80000"/>
              </a:lnSpc>
              <a:defRPr sz="7200" b="0" cap="all" baseline="0">
                <a:solidFill>
                  <a:srgbClr val="F6F6F6"/>
                </a:solidFill>
                <a:latin typeface="Impact" panose="020B0806030902050204" pitchFamily="34" charset="0"/>
              </a:defRPr>
            </a:lvl1pPr>
          </a:lstStyle>
          <a:p>
            <a:r>
              <a:rPr lang="en-US"/>
              <a:t>Click</a:t>
            </a:r>
            <a:br>
              <a:rPr lang="en-US"/>
            </a:br>
            <a:r>
              <a:rPr lang="en-US"/>
              <a:t>TO edit</a:t>
            </a:r>
            <a:br>
              <a:rPr lang="en-US"/>
            </a:br>
            <a:r>
              <a:rPr lang="en-US"/>
              <a:t>title</a:t>
            </a:r>
          </a:p>
        </p:txBody>
      </p:sp>
      <p:sp>
        <p:nvSpPr>
          <p:cNvPr id="3" name="Subtitle 2"/>
          <p:cNvSpPr>
            <a:spLocks noGrp="1"/>
          </p:cNvSpPr>
          <p:nvPr>
            <p:ph type="subTitle" idx="1" hasCustomPrompt="1"/>
          </p:nvPr>
        </p:nvSpPr>
        <p:spPr>
          <a:xfrm>
            <a:off x="502920" y="4297680"/>
            <a:ext cx="5486400" cy="914400"/>
          </a:xfrm>
        </p:spPr>
        <p:txBody>
          <a:bodyPr/>
          <a:lstStyle>
            <a:lvl1pPr marL="0" indent="0" algn="l">
              <a:spcBef>
                <a:spcPts val="0"/>
              </a:spcBef>
              <a:buNone/>
              <a:defRPr sz="2400" b="1">
                <a:solidFill>
                  <a:schemeClr val="accent4"/>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p>
          <a:p>
            <a:r>
              <a:rPr lang="en-US"/>
              <a:t>Date</a:t>
            </a:r>
          </a:p>
        </p:txBody>
      </p:sp>
      <p:pic>
        <p:nvPicPr>
          <p:cNvPr id="6" name="Picture 5">
            <a:extLst>
              <a:ext uri="{FF2B5EF4-FFF2-40B4-BE49-F238E27FC236}">
                <a16:creationId xmlns:a16="http://schemas.microsoft.com/office/drawing/2014/main" id="{3757A01E-A019-4D6E-8F68-79D0BA061450}"/>
              </a:ext>
            </a:extLst>
          </p:cNvPr>
          <p:cNvPicPr>
            <a:picLocks noChangeAspect="1"/>
          </p:cNvPicPr>
          <p:nvPr userDrawn="1"/>
        </p:nvPicPr>
        <p:blipFill>
          <a:blip r:embed="rId2"/>
          <a:stretch>
            <a:fillRect/>
          </a:stretch>
        </p:blipFill>
        <p:spPr>
          <a:xfrm>
            <a:off x="9111912" y="5674566"/>
            <a:ext cx="2470444" cy="920935"/>
          </a:xfrm>
          <a:prstGeom prst="rect">
            <a:avLst/>
          </a:prstGeom>
        </p:spPr>
      </p:pic>
    </p:spTree>
    <p:extLst>
      <p:ext uri="{BB962C8B-B14F-4D97-AF65-F5344CB8AC3E}">
        <p14:creationId xmlns:p14="http://schemas.microsoft.com/office/powerpoint/2010/main" val="192185501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1_Title Slide Blu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249C43DE-453D-3D4A-A607-60D93A2A71E2}"/>
              </a:ext>
            </a:extLst>
          </p:cNvPr>
          <p:cNvSpPr/>
          <p:nvPr/>
        </p:nvSpPr>
        <p:spPr>
          <a:xfrm>
            <a:off x="0" y="0"/>
            <a:ext cx="12192000" cy="551227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000"/>
          </a:p>
        </p:txBody>
      </p:sp>
      <p:sp>
        <p:nvSpPr>
          <p:cNvPr id="2" name="Title 1"/>
          <p:cNvSpPr>
            <a:spLocks noGrp="1"/>
          </p:cNvSpPr>
          <p:nvPr>
            <p:ph type="ctrTitle" hasCustomPrompt="1"/>
          </p:nvPr>
        </p:nvSpPr>
        <p:spPr>
          <a:xfrm>
            <a:off x="502920" y="1280160"/>
            <a:ext cx="10363200" cy="2743200"/>
          </a:xfrm>
        </p:spPr>
        <p:txBody>
          <a:bodyPr/>
          <a:lstStyle>
            <a:lvl1pPr>
              <a:lnSpc>
                <a:spcPct val="80000"/>
              </a:lnSpc>
              <a:defRPr sz="7200" b="0" cap="all" baseline="0">
                <a:solidFill>
                  <a:schemeClr val="accent4"/>
                </a:solidFill>
                <a:latin typeface="Impact" panose="020B0806030902050204" pitchFamily="34" charset="0"/>
              </a:defRPr>
            </a:lvl1pPr>
          </a:lstStyle>
          <a:p>
            <a:r>
              <a:rPr lang="en-US"/>
              <a:t>Click</a:t>
            </a:r>
            <a:br>
              <a:rPr lang="en-US"/>
            </a:br>
            <a:r>
              <a:rPr lang="en-US"/>
              <a:t>TO edit</a:t>
            </a:r>
            <a:br>
              <a:rPr lang="en-US"/>
            </a:br>
            <a:r>
              <a:rPr lang="en-US"/>
              <a:t>title</a:t>
            </a:r>
          </a:p>
        </p:txBody>
      </p:sp>
      <p:sp>
        <p:nvSpPr>
          <p:cNvPr id="3" name="Subtitle 2"/>
          <p:cNvSpPr>
            <a:spLocks noGrp="1"/>
          </p:cNvSpPr>
          <p:nvPr>
            <p:ph type="subTitle" idx="1" hasCustomPrompt="1"/>
          </p:nvPr>
        </p:nvSpPr>
        <p:spPr>
          <a:xfrm>
            <a:off x="502920" y="4297680"/>
            <a:ext cx="5486400" cy="914400"/>
          </a:xfrm>
        </p:spPr>
        <p:txBody>
          <a:bodyPr/>
          <a:lstStyle>
            <a:lvl1pPr marL="0" indent="0" algn="l">
              <a:spcBef>
                <a:spcPts val="0"/>
              </a:spcBef>
              <a:buNone/>
              <a:defRPr sz="2400" b="1">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ubtitle</a:t>
            </a:r>
          </a:p>
          <a:p>
            <a:r>
              <a:rPr lang="en-US"/>
              <a:t>Date</a:t>
            </a:r>
          </a:p>
        </p:txBody>
      </p:sp>
      <p:pic>
        <p:nvPicPr>
          <p:cNvPr id="6" name="Picture 5">
            <a:extLst>
              <a:ext uri="{FF2B5EF4-FFF2-40B4-BE49-F238E27FC236}">
                <a16:creationId xmlns:a16="http://schemas.microsoft.com/office/drawing/2014/main" id="{434873D4-8072-40C5-AFBD-82C230775113}"/>
              </a:ext>
            </a:extLst>
          </p:cNvPr>
          <p:cNvPicPr>
            <a:picLocks noChangeAspect="1"/>
          </p:cNvPicPr>
          <p:nvPr userDrawn="1"/>
        </p:nvPicPr>
        <p:blipFill>
          <a:blip r:embed="rId2"/>
          <a:stretch>
            <a:fillRect/>
          </a:stretch>
        </p:blipFill>
        <p:spPr>
          <a:xfrm>
            <a:off x="9111912" y="5674566"/>
            <a:ext cx="2470444" cy="920935"/>
          </a:xfrm>
          <a:prstGeom prst="rect">
            <a:avLst/>
          </a:prstGeom>
        </p:spPr>
      </p:pic>
    </p:spTree>
    <p:extLst>
      <p:ext uri="{BB962C8B-B14F-4D97-AF65-F5344CB8AC3E}">
        <p14:creationId xmlns:p14="http://schemas.microsoft.com/office/powerpoint/2010/main" val="314514576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p:cSld name="Three Content White">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tx2"/>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2400">
                <a:solidFill>
                  <a:schemeClr val="tx1"/>
                </a:solidFill>
              </a:defRPr>
            </a:lvl1pPr>
            <a:lvl2pPr marL="579438" indent="-230188">
              <a:tabLst/>
              <a:defRPr sz="2200">
                <a:solidFill>
                  <a:schemeClr val="tx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7" name="TextBox 6">
            <a:extLst>
              <a:ext uri="{FF2B5EF4-FFF2-40B4-BE49-F238E27FC236}">
                <a16:creationId xmlns:a16="http://schemas.microsoft.com/office/drawing/2014/main" id="{973E6308-FDAF-1842-B6E5-2E567AC3EB04}"/>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10" name="Picture 9">
            <a:extLst>
              <a:ext uri="{FF2B5EF4-FFF2-40B4-BE49-F238E27FC236}">
                <a16:creationId xmlns:a16="http://schemas.microsoft.com/office/drawing/2014/main" id="{0CD61F71-82C5-804A-A22E-2A883D0D425F}"/>
              </a:ext>
            </a:extLst>
          </p:cNvPr>
          <p:cNvPicPr>
            <a:picLocks noChangeAspect="1"/>
          </p:cNvPicPr>
          <p:nvPr/>
        </p:nvPicPr>
        <p:blipFill>
          <a:blip r:embed="rId2"/>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427151360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p:cSld name="Three Content Teal">
    <p:bg>
      <p:bgPr>
        <a:solidFill>
          <a:schemeClr val="accent4"/>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2400">
                <a:solidFill>
                  <a:schemeClr val="tx2"/>
                </a:solidFill>
              </a:defRPr>
            </a:lvl1pPr>
            <a:lvl2pPr marL="579438" indent="-230188">
              <a:tabLst/>
              <a:defRPr sz="2200">
                <a:solidFill>
                  <a:schemeClr val="tx2"/>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2400">
                <a:solidFill>
                  <a:schemeClr val="tx2"/>
                </a:solidFill>
              </a:defRPr>
            </a:lvl1pPr>
            <a:lvl2pPr marL="579438" indent="-230188">
              <a:tabLst/>
              <a:defRPr sz="2200">
                <a:solidFill>
                  <a:schemeClr val="tx2"/>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tx2"/>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2400">
                <a:solidFill>
                  <a:schemeClr val="tx2"/>
                </a:solidFill>
              </a:defRPr>
            </a:lvl1pPr>
            <a:lvl2pPr marL="579438" indent="-230188">
              <a:tabLst/>
              <a:defRPr sz="2200">
                <a:solidFill>
                  <a:schemeClr val="tx2"/>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7" name="TextBox 6">
            <a:extLst>
              <a:ext uri="{FF2B5EF4-FFF2-40B4-BE49-F238E27FC236}">
                <a16:creationId xmlns:a16="http://schemas.microsoft.com/office/drawing/2014/main" id="{973E6308-FDAF-1842-B6E5-2E567AC3EB04}"/>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10" name="Picture 9">
            <a:extLst>
              <a:ext uri="{FF2B5EF4-FFF2-40B4-BE49-F238E27FC236}">
                <a16:creationId xmlns:a16="http://schemas.microsoft.com/office/drawing/2014/main" id="{0CD61F71-82C5-804A-A22E-2A883D0D425F}"/>
              </a:ext>
            </a:extLst>
          </p:cNvPr>
          <p:cNvPicPr>
            <a:picLocks noChangeAspect="1"/>
          </p:cNvPicPr>
          <p:nvPr/>
        </p:nvPicPr>
        <p:blipFill>
          <a:blip r:embed="rId2"/>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332961431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1_Three Content Blue">
    <p:bg>
      <p:bgPr>
        <a:solidFill>
          <a:schemeClr val="tx2"/>
        </a:solidFill>
        <a:effectLst/>
      </p:bgPr>
    </p:bg>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502920" y="1645920"/>
            <a:ext cx="3337560" cy="4389120"/>
          </a:xfrm>
        </p:spPr>
        <p:txBody>
          <a:bodyPr/>
          <a:lstStyle>
            <a:lvl1pPr>
              <a:defRPr sz="2400">
                <a:solidFill>
                  <a:schemeClr val="bg1"/>
                </a:solidFill>
              </a:defRPr>
            </a:lvl1pPr>
            <a:lvl2pPr marL="579438" indent="-230188">
              <a:tabLst/>
              <a:defRPr sz="2200">
                <a:solidFill>
                  <a:schemeClr val="bg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4" name="Content Placeholder 3"/>
          <p:cNvSpPr>
            <a:spLocks noGrp="1"/>
          </p:cNvSpPr>
          <p:nvPr>
            <p:ph sz="half" idx="2" hasCustomPrompt="1"/>
          </p:nvPr>
        </p:nvSpPr>
        <p:spPr>
          <a:xfrm>
            <a:off x="4251960" y="1645920"/>
            <a:ext cx="3337560" cy="4389120"/>
          </a:xfrm>
        </p:spPr>
        <p:txBody>
          <a:bodyPr/>
          <a:lstStyle>
            <a:lvl1pPr>
              <a:defRPr sz="2400">
                <a:solidFill>
                  <a:schemeClr val="bg1"/>
                </a:solidFill>
              </a:defRPr>
            </a:lvl1pPr>
            <a:lvl2pPr marL="579438" indent="-230188">
              <a:tabLst/>
              <a:defRPr sz="2200">
                <a:solidFill>
                  <a:schemeClr val="bg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hasCustomPrompt="1"/>
          </p:nvPr>
        </p:nvSpPr>
        <p:spPr>
          <a:xfrm>
            <a:off x="502920" y="457200"/>
            <a:ext cx="10835640" cy="914400"/>
          </a:xfrm>
        </p:spPr>
        <p:txBody>
          <a:bodyPr/>
          <a:lstStyle>
            <a:lvl1pPr>
              <a:defRPr>
                <a:solidFill>
                  <a:schemeClr val="bg1"/>
                </a:solidFill>
              </a:defRPr>
            </a:lvl1pPr>
          </a:lstStyle>
          <a:p>
            <a:r>
              <a:rPr lang="en-US"/>
              <a:t>Click to edit Master Tit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hasCustomPrompt="1"/>
          </p:nvPr>
        </p:nvSpPr>
        <p:spPr>
          <a:xfrm>
            <a:off x="8001000" y="1645920"/>
            <a:ext cx="3337560" cy="4389120"/>
          </a:xfrm>
        </p:spPr>
        <p:txBody>
          <a:bodyPr/>
          <a:lstStyle>
            <a:lvl1pPr>
              <a:defRPr sz="2400">
                <a:solidFill>
                  <a:schemeClr val="bg1"/>
                </a:solidFill>
              </a:defRPr>
            </a:lvl1pPr>
            <a:lvl2pPr marL="579438" indent="-230188">
              <a:tabLst/>
              <a:defRPr sz="2200">
                <a:solidFill>
                  <a:schemeClr val="bg1"/>
                </a:solidFill>
              </a:defRPr>
            </a:lvl2pPr>
            <a:lvl3pPr marL="1028700" indent="-219075">
              <a:tabLst/>
              <a:defRPr sz="2400">
                <a:solidFill>
                  <a:schemeClr val="bg1"/>
                </a:solidFill>
              </a:defRPr>
            </a:lvl3pPr>
            <a:lvl4pPr>
              <a:defRPr sz="2400"/>
            </a:lvl4pPr>
            <a:lvl5pPr>
              <a:defRPr sz="2400"/>
            </a:lvl5pPr>
            <a:lvl6pPr>
              <a:defRPr sz="1800"/>
            </a:lvl6pPr>
            <a:lvl7pPr>
              <a:defRPr sz="1800"/>
            </a:lvl7pPr>
            <a:lvl8pPr>
              <a:defRPr sz="1800"/>
            </a:lvl8pPr>
            <a:lvl9pPr>
              <a:defRPr sz="1800"/>
            </a:lvl9pPr>
          </a:lstStyle>
          <a:p>
            <a:pPr lvl="0"/>
            <a:r>
              <a:rPr lang="en-US"/>
              <a:t>Edit Master Content</a:t>
            </a:r>
          </a:p>
          <a:p>
            <a:pPr lvl="1"/>
            <a:r>
              <a:rPr lang="en-US"/>
              <a:t>Second level</a:t>
            </a:r>
          </a:p>
        </p:txBody>
      </p:sp>
      <p:sp>
        <p:nvSpPr>
          <p:cNvPr id="7" name="TextBox 6">
            <a:extLst>
              <a:ext uri="{FF2B5EF4-FFF2-40B4-BE49-F238E27FC236}">
                <a16:creationId xmlns:a16="http://schemas.microsoft.com/office/drawing/2014/main" id="{973E6308-FDAF-1842-B6E5-2E567AC3EB04}"/>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pic>
        <p:nvPicPr>
          <p:cNvPr id="10" name="Picture 9">
            <a:extLst>
              <a:ext uri="{FF2B5EF4-FFF2-40B4-BE49-F238E27FC236}">
                <a16:creationId xmlns:a16="http://schemas.microsoft.com/office/drawing/2014/main" id="{0CD61F71-82C5-804A-A22E-2A883D0D425F}"/>
              </a:ext>
            </a:extLst>
          </p:cNvPr>
          <p:cNvPicPr>
            <a:picLocks noChangeAspect="1"/>
          </p:cNvPicPr>
          <p:nvPr/>
        </p:nvPicPr>
        <p:blipFill>
          <a:blip r:embed="rId2"/>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166356160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Content with char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A0A6FAE-BD6E-FE4A-872E-AD2A1BF980FD}"/>
              </a:ext>
            </a:extLst>
          </p:cNvPr>
          <p:cNvSpPr/>
          <p:nvPr/>
        </p:nvSpPr>
        <p:spPr>
          <a:xfrm>
            <a:off x="5268541" y="1645919"/>
            <a:ext cx="6070019" cy="43891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p:cNvSpPr>
            <a:spLocks noGrp="1"/>
          </p:cNvSpPr>
          <p:nvPr>
            <p:ph sz="half" idx="1"/>
          </p:nvPr>
        </p:nvSpPr>
        <p:spPr>
          <a:xfrm>
            <a:off x="502919" y="1645920"/>
            <a:ext cx="4354141" cy="4389120"/>
          </a:xfrm>
        </p:spPr>
        <p:txBody>
          <a:bodyPr/>
          <a:lstStyle>
            <a:lvl1pPr>
              <a:defRPr sz="2400"/>
            </a:lvl1pPr>
            <a:lvl2pPr marL="742950" indent="-285750">
              <a:defRPr sz="2200"/>
            </a:lvl2pPr>
            <a:lvl3pPr>
              <a:defRPr sz="20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p:nvPr>
        </p:nvSpPr>
        <p:spPr>
          <a:xfrm>
            <a:off x="502920" y="457200"/>
            <a:ext cx="10835640" cy="914400"/>
          </a:xfrm>
        </p:spPr>
        <p:txBody>
          <a:bodyPr/>
          <a:lstStyle/>
          <a:p>
            <a:r>
              <a:rPr lang="en-US"/>
              <a:t>Click to edit Master title style</a:t>
            </a:r>
          </a:p>
        </p:txBody>
      </p:sp>
      <p:sp>
        <p:nvSpPr>
          <p:cNvPr id="5" name="Chart Placeholder 4">
            <a:extLst>
              <a:ext uri="{FF2B5EF4-FFF2-40B4-BE49-F238E27FC236}">
                <a16:creationId xmlns:a16="http://schemas.microsoft.com/office/drawing/2014/main" id="{83315DEA-0887-EA42-952C-858BB2D8CB19}"/>
              </a:ext>
            </a:extLst>
          </p:cNvPr>
          <p:cNvSpPr>
            <a:spLocks noGrp="1"/>
          </p:cNvSpPr>
          <p:nvPr>
            <p:ph type="chart" sz="quarter" idx="10"/>
          </p:nvPr>
        </p:nvSpPr>
        <p:spPr>
          <a:xfrm>
            <a:off x="5268540" y="1646238"/>
            <a:ext cx="6070019" cy="4389120"/>
          </a:xfrm>
        </p:spPr>
        <p:txBody>
          <a:bodyPr/>
          <a:lstStyle>
            <a:lvl1pPr marL="0" indent="0">
              <a:buNone/>
              <a:defRPr/>
            </a:lvl1pPr>
          </a:lstStyle>
          <a:p>
            <a:r>
              <a:rPr lang="en-US"/>
              <a:t>Click icon to add chart</a:t>
            </a:r>
          </a:p>
        </p:txBody>
      </p:sp>
      <p:sp>
        <p:nvSpPr>
          <p:cNvPr id="9" name="Text Placeholder 3">
            <a:extLst>
              <a:ext uri="{FF2B5EF4-FFF2-40B4-BE49-F238E27FC236}">
                <a16:creationId xmlns:a16="http://schemas.microsoft.com/office/drawing/2014/main" id="{D77FA496-BFF6-F24A-AE6C-A16A0485C98F}"/>
              </a:ext>
            </a:extLst>
          </p:cNvPr>
          <p:cNvSpPr>
            <a:spLocks noGrp="1"/>
          </p:cNvSpPr>
          <p:nvPr>
            <p:ph type="body" sz="half" idx="2"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350179873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5_Title Only">
    <p:spTree>
      <p:nvGrpSpPr>
        <p:cNvPr id="1" name=""/>
        <p:cNvGrpSpPr/>
        <p:nvPr/>
      </p:nvGrpSpPr>
      <p:grpSpPr>
        <a:xfrm>
          <a:off x="0" y="0"/>
          <a:ext cx="0" cy="0"/>
          <a:chOff x="0" y="0"/>
          <a:chExt cx="0" cy="0"/>
        </a:xfrm>
      </p:grpSpPr>
      <p:sp>
        <p:nvSpPr>
          <p:cNvPr id="68" name="Slide Number"/>
          <p:cNvSpPr txBox="1">
            <a:spLocks noGrp="1"/>
          </p:cNvSpPr>
          <p:nvPr>
            <p:ph type="sldNum" sz="quarter" idx="2"/>
          </p:nvPr>
        </p:nvSpPr>
        <p:spPr>
          <a:prstGeom prst="rect">
            <a:avLst/>
          </a:prstGeom>
        </p:spPr>
        <p:txBody>
          <a:bodyPr/>
          <a:lstStyle/>
          <a:p>
            <a:pPr defTabSz="457200"/>
            <a:fld id="{86CB4B4D-7CA3-9044-876B-883B54F8677D}" type="slidenum">
              <a:rPr>
                <a:solidFill>
                  <a:srgbClr val="000000"/>
                </a:solidFill>
              </a:rPr>
              <a:pPr defTabSz="457200"/>
              <a:t>‹#›</a:t>
            </a:fld>
            <a:endParaRPr>
              <a:solidFill>
                <a:srgbClr val="000000"/>
              </a:solidFill>
            </a:endParaRPr>
          </a:p>
        </p:txBody>
      </p:sp>
    </p:spTree>
    <p:extLst>
      <p:ext uri="{BB962C8B-B14F-4D97-AF65-F5344CB8AC3E}">
        <p14:creationId xmlns:p14="http://schemas.microsoft.com/office/powerpoint/2010/main" val="1522749501"/>
      </p:ext>
    </p:extLst>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Text Placeholder 3">
            <a:extLst>
              <a:ext uri="{FF2B5EF4-FFF2-40B4-BE49-F238E27FC236}">
                <a16:creationId xmlns:a16="http://schemas.microsoft.com/office/drawing/2014/main" id="{61C5ED49-76FD-3145-895C-5E04CD07C826}"/>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Tree>
    <p:extLst>
      <p:ext uri="{BB962C8B-B14F-4D97-AF65-F5344CB8AC3E}">
        <p14:creationId xmlns:p14="http://schemas.microsoft.com/office/powerpoint/2010/main" val="393875236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502920" y="1645920"/>
            <a:ext cx="3337560" cy="4389120"/>
          </a:xfrm>
        </p:spPr>
        <p:txBody>
          <a:bodyPr/>
          <a:lstStyle>
            <a:lvl1pPr>
              <a:defRPr sz="2400"/>
            </a:lvl1pPr>
            <a:lvl2pPr marL="579438" indent="-230188">
              <a:tabLst/>
              <a:defRPr sz="2200"/>
            </a:lvl2pPr>
            <a:lvl3pPr marL="1028700" indent="-219075">
              <a:tabLst/>
              <a:defRPr sz="24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4" name="Content Placeholder 3"/>
          <p:cNvSpPr>
            <a:spLocks noGrp="1"/>
          </p:cNvSpPr>
          <p:nvPr>
            <p:ph sz="half" idx="2"/>
          </p:nvPr>
        </p:nvSpPr>
        <p:spPr>
          <a:xfrm>
            <a:off x="4251960" y="1645920"/>
            <a:ext cx="3337560" cy="4389120"/>
          </a:xfrm>
        </p:spPr>
        <p:txBody>
          <a:bodyPr/>
          <a:lstStyle>
            <a:lvl1pPr>
              <a:defRPr sz="2400"/>
            </a:lvl1pPr>
            <a:lvl2pPr marL="579438" indent="-230188">
              <a:tabLst/>
              <a:defRPr sz="2200"/>
            </a:lvl2pPr>
            <a:lvl3pPr marL="1028700" indent="-219075">
              <a:tabLst/>
              <a:defRPr sz="24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
        <p:nvSpPr>
          <p:cNvPr id="8" name="Title 7">
            <a:extLst>
              <a:ext uri="{FF2B5EF4-FFF2-40B4-BE49-F238E27FC236}">
                <a16:creationId xmlns:a16="http://schemas.microsoft.com/office/drawing/2014/main" id="{0C1CEB73-79D8-4744-A813-80339A44B43C}"/>
              </a:ext>
            </a:extLst>
          </p:cNvPr>
          <p:cNvSpPr>
            <a:spLocks noGrp="1"/>
          </p:cNvSpPr>
          <p:nvPr>
            <p:ph type="title"/>
          </p:nvPr>
        </p:nvSpPr>
        <p:spPr>
          <a:xfrm>
            <a:off x="502920" y="457200"/>
            <a:ext cx="10835640" cy="914400"/>
          </a:xfrm>
        </p:spPr>
        <p:txBody>
          <a:bodyPr/>
          <a:lstStyle/>
          <a:p>
            <a:r>
              <a:rPr lang="en-US"/>
              <a:t>Click to edit Master title style</a:t>
            </a:r>
          </a:p>
        </p:txBody>
      </p:sp>
      <p:sp>
        <p:nvSpPr>
          <p:cNvPr id="9" name="Text Placeholder 3">
            <a:extLst>
              <a:ext uri="{FF2B5EF4-FFF2-40B4-BE49-F238E27FC236}">
                <a16:creationId xmlns:a16="http://schemas.microsoft.com/office/drawing/2014/main" id="{949E3894-2CFC-8A44-9167-51B85473A8F0}"/>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tx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sp>
        <p:nvSpPr>
          <p:cNvPr id="12" name="Content Placeholder 3">
            <a:extLst>
              <a:ext uri="{FF2B5EF4-FFF2-40B4-BE49-F238E27FC236}">
                <a16:creationId xmlns:a16="http://schemas.microsoft.com/office/drawing/2014/main" id="{B371432A-0121-B24A-8459-53E8BB3410BA}"/>
              </a:ext>
            </a:extLst>
          </p:cNvPr>
          <p:cNvSpPr>
            <a:spLocks noGrp="1"/>
          </p:cNvSpPr>
          <p:nvPr>
            <p:ph sz="half" idx="11"/>
          </p:nvPr>
        </p:nvSpPr>
        <p:spPr>
          <a:xfrm>
            <a:off x="8001000" y="1645920"/>
            <a:ext cx="3337560" cy="4389120"/>
          </a:xfrm>
        </p:spPr>
        <p:txBody>
          <a:bodyPr/>
          <a:lstStyle>
            <a:lvl1pPr>
              <a:defRPr sz="2400"/>
            </a:lvl1pPr>
            <a:lvl2pPr marL="579438" indent="-230188">
              <a:tabLst/>
              <a:defRPr sz="2200"/>
            </a:lvl2pPr>
            <a:lvl3pPr marL="1028700" indent="-219075">
              <a:tabLst/>
              <a:defRPr sz="2400"/>
            </a:lvl3pPr>
            <a:lvl4pPr>
              <a:defRPr sz="2400"/>
            </a:lvl4pPr>
            <a:lvl5pPr>
              <a:defRPr sz="2400"/>
            </a:lvl5pPr>
            <a:lvl6pPr>
              <a:defRPr sz="1800"/>
            </a:lvl6pPr>
            <a:lvl7pPr>
              <a:defRPr sz="1800"/>
            </a:lvl7pPr>
            <a:lvl8pPr>
              <a:defRPr sz="1800"/>
            </a:lvl8pPr>
            <a:lvl9pPr>
              <a:defRPr sz="1800"/>
            </a:lvl9pPr>
          </a:lstStyle>
          <a:p>
            <a:pPr lvl="0"/>
            <a:r>
              <a:rPr lang="en-US"/>
              <a:t>Edit Master text styles</a:t>
            </a:r>
          </a:p>
          <a:p>
            <a:pPr lvl="1"/>
            <a:r>
              <a:rPr lang="en-US"/>
              <a:t>Second level</a:t>
            </a:r>
          </a:p>
        </p:txBody>
      </p:sp>
    </p:spTree>
    <p:extLst>
      <p:ext uri="{BB962C8B-B14F-4D97-AF65-F5344CB8AC3E}">
        <p14:creationId xmlns:p14="http://schemas.microsoft.com/office/powerpoint/2010/main" val="37312072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Title Only Blu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F6F6F6"/>
                </a:solidFill>
              </a:defRPr>
            </a:lvl1pPr>
          </a:lstStyle>
          <a:p>
            <a:r>
              <a:rPr lang="en-US"/>
              <a:t>Click to edit Master title style</a:t>
            </a:r>
          </a:p>
        </p:txBody>
      </p:sp>
      <p:sp>
        <p:nvSpPr>
          <p:cNvPr id="3" name="TextBox 2">
            <a:extLst>
              <a:ext uri="{FF2B5EF4-FFF2-40B4-BE49-F238E27FC236}">
                <a16:creationId xmlns:a16="http://schemas.microsoft.com/office/drawing/2014/main" id="{30CF1BCB-BED2-7046-B660-B679A08680C8}"/>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bg1"/>
                </a:solidFill>
                <a:latin typeface="+mn-lt"/>
              </a:rPr>
              <a:t>‹#›</a:t>
            </a:fld>
            <a:endParaRPr lang="en-US" sz="900" b="0">
              <a:solidFill>
                <a:schemeClr val="bg1"/>
              </a:solidFill>
              <a:latin typeface="+mn-lt"/>
            </a:endParaRPr>
          </a:p>
        </p:txBody>
      </p:sp>
      <p:sp>
        <p:nvSpPr>
          <p:cNvPr id="5" name="Text Placeholder 3">
            <a:extLst>
              <a:ext uri="{FF2B5EF4-FFF2-40B4-BE49-F238E27FC236}">
                <a16:creationId xmlns:a16="http://schemas.microsoft.com/office/drawing/2014/main" id="{7E19B30B-36B8-9C48-89D7-E16260BEA429}"/>
              </a:ext>
            </a:extLst>
          </p:cNvPr>
          <p:cNvSpPr>
            <a:spLocks noGrp="1"/>
          </p:cNvSpPr>
          <p:nvPr>
            <p:ph type="body" sz="half" idx="10" hasCustomPrompt="1"/>
          </p:nvPr>
        </p:nvSpPr>
        <p:spPr>
          <a:xfrm>
            <a:off x="502921" y="6215986"/>
            <a:ext cx="5593080" cy="336332"/>
          </a:xfrm>
        </p:spPr>
        <p:txBody>
          <a:bodyPr bIns="0" anchor="b" anchorCtr="0"/>
          <a:lstStyle>
            <a:lvl1pPr marL="0" indent="0">
              <a:spcBef>
                <a:spcPts val="0"/>
              </a:spcBef>
              <a:buNone/>
              <a:defRPr sz="800" b="0">
                <a:solidFill>
                  <a:schemeClr val="bg1"/>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Footnote/Source style</a:t>
            </a:r>
          </a:p>
        </p:txBody>
      </p:sp>
      <p:pic>
        <p:nvPicPr>
          <p:cNvPr id="6" name="Picture 5">
            <a:extLst>
              <a:ext uri="{FF2B5EF4-FFF2-40B4-BE49-F238E27FC236}">
                <a16:creationId xmlns:a16="http://schemas.microsoft.com/office/drawing/2014/main" id="{0A24A276-69C6-2243-845D-F91B87013672}"/>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0064" y="6305006"/>
            <a:ext cx="1308495" cy="280574"/>
          </a:xfrm>
          <a:prstGeom prst="rect">
            <a:avLst/>
          </a:prstGeom>
        </p:spPr>
      </p:pic>
    </p:spTree>
    <p:extLst>
      <p:ext uri="{BB962C8B-B14F-4D97-AF65-F5344CB8AC3E}">
        <p14:creationId xmlns:p14="http://schemas.microsoft.com/office/powerpoint/2010/main" val="13955535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slideLayout" Target="../slideLayouts/slideLayout48.xml"/><Relationship Id="rId18" Type="http://schemas.openxmlformats.org/officeDocument/2006/relationships/slideLayout" Target="../slideLayouts/slideLayout53.xml"/><Relationship Id="rId3" Type="http://schemas.openxmlformats.org/officeDocument/2006/relationships/slideLayout" Target="../slideLayouts/slideLayout38.xml"/><Relationship Id="rId21" Type="http://schemas.openxmlformats.org/officeDocument/2006/relationships/theme" Target="../theme/theme2.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17" Type="http://schemas.openxmlformats.org/officeDocument/2006/relationships/slideLayout" Target="../slideLayouts/slideLayout52.xml"/><Relationship Id="rId2" Type="http://schemas.openxmlformats.org/officeDocument/2006/relationships/slideLayout" Target="../slideLayouts/slideLayout37.xml"/><Relationship Id="rId16" Type="http://schemas.openxmlformats.org/officeDocument/2006/relationships/slideLayout" Target="../slideLayouts/slideLayout51.xml"/><Relationship Id="rId20" Type="http://schemas.openxmlformats.org/officeDocument/2006/relationships/slideLayout" Target="../slideLayouts/slideLayout55.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5" Type="http://schemas.openxmlformats.org/officeDocument/2006/relationships/slideLayout" Target="../slideLayouts/slideLayout50.xml"/><Relationship Id="rId10" Type="http://schemas.openxmlformats.org/officeDocument/2006/relationships/slideLayout" Target="../slideLayouts/slideLayout45.xml"/><Relationship Id="rId19" Type="http://schemas.openxmlformats.org/officeDocument/2006/relationships/slideLayout" Target="../slideLayouts/slideLayout54.xml"/><Relationship Id="rId4" Type="http://schemas.openxmlformats.org/officeDocument/2006/relationships/slideLayout" Target="../slideLayouts/slideLayout39.xml"/><Relationship Id="rId9" Type="http://schemas.openxmlformats.org/officeDocument/2006/relationships/slideLayout" Target="../slideLayouts/slideLayout44.xml"/><Relationship Id="rId14" Type="http://schemas.openxmlformats.org/officeDocument/2006/relationships/slideLayout" Target="../slideLayouts/slideLayout49.xml"/><Relationship Id="rId22" Type="http://schemas.openxmlformats.org/officeDocument/2006/relationships/image" Target="../media/image9.png"/></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slideLayout" Target="../slideLayouts/slideLayout68.xml"/><Relationship Id="rId18" Type="http://schemas.openxmlformats.org/officeDocument/2006/relationships/slideLayout" Target="../slideLayouts/slideLayout73.xml"/><Relationship Id="rId26" Type="http://schemas.openxmlformats.org/officeDocument/2006/relationships/theme" Target="../theme/theme3.xml"/><Relationship Id="rId3" Type="http://schemas.openxmlformats.org/officeDocument/2006/relationships/slideLayout" Target="../slideLayouts/slideLayout58.xml"/><Relationship Id="rId21" Type="http://schemas.openxmlformats.org/officeDocument/2006/relationships/slideLayout" Target="../slideLayouts/slideLayout76.xml"/><Relationship Id="rId7" Type="http://schemas.openxmlformats.org/officeDocument/2006/relationships/slideLayout" Target="../slideLayouts/slideLayout62.xml"/><Relationship Id="rId12" Type="http://schemas.openxmlformats.org/officeDocument/2006/relationships/slideLayout" Target="../slideLayouts/slideLayout67.xml"/><Relationship Id="rId17" Type="http://schemas.openxmlformats.org/officeDocument/2006/relationships/slideLayout" Target="../slideLayouts/slideLayout72.xml"/><Relationship Id="rId25" Type="http://schemas.openxmlformats.org/officeDocument/2006/relationships/slideLayout" Target="../slideLayouts/slideLayout80.xml"/><Relationship Id="rId2" Type="http://schemas.openxmlformats.org/officeDocument/2006/relationships/slideLayout" Target="../slideLayouts/slideLayout57.xml"/><Relationship Id="rId16" Type="http://schemas.openxmlformats.org/officeDocument/2006/relationships/slideLayout" Target="../slideLayouts/slideLayout71.xml"/><Relationship Id="rId20" Type="http://schemas.openxmlformats.org/officeDocument/2006/relationships/slideLayout" Target="../slideLayouts/slideLayout75.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slideLayout" Target="../slideLayouts/slideLayout66.xml"/><Relationship Id="rId24" Type="http://schemas.openxmlformats.org/officeDocument/2006/relationships/slideLayout" Target="../slideLayouts/slideLayout79.xml"/><Relationship Id="rId5" Type="http://schemas.openxmlformats.org/officeDocument/2006/relationships/slideLayout" Target="../slideLayouts/slideLayout60.xml"/><Relationship Id="rId15" Type="http://schemas.openxmlformats.org/officeDocument/2006/relationships/slideLayout" Target="../slideLayouts/slideLayout70.xml"/><Relationship Id="rId23" Type="http://schemas.openxmlformats.org/officeDocument/2006/relationships/slideLayout" Target="../slideLayouts/slideLayout78.xml"/><Relationship Id="rId10" Type="http://schemas.openxmlformats.org/officeDocument/2006/relationships/slideLayout" Target="../slideLayouts/slideLayout65.xml"/><Relationship Id="rId19" Type="http://schemas.openxmlformats.org/officeDocument/2006/relationships/slideLayout" Target="../slideLayouts/slideLayout74.xml"/><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slideLayout" Target="../slideLayouts/slideLayout69.xml"/><Relationship Id="rId22" Type="http://schemas.openxmlformats.org/officeDocument/2006/relationships/slideLayout" Target="../slideLayouts/slideLayout77.xml"/><Relationship Id="rId27"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457200"/>
            <a:ext cx="10835640" cy="914400"/>
          </a:xfrm>
          <a:prstGeom prst="rect">
            <a:avLst/>
          </a:prstGeom>
        </p:spPr>
        <p:txBody>
          <a:bodyPr vert="horz" lIns="0" tIns="45720" rIns="0" bIns="45720" rtlCol="0" anchor="t" anchorCtr="0">
            <a:noAutofit/>
          </a:bodyPr>
          <a:lstStyle/>
          <a:p>
            <a:r>
              <a:rPr lang="en-US"/>
              <a:t>Click to edit Master title style</a:t>
            </a:r>
            <a:br>
              <a:rPr lang="en-US"/>
            </a:br>
            <a:r>
              <a:rPr lang="en-US"/>
              <a:t> </a:t>
            </a:r>
          </a:p>
        </p:txBody>
      </p:sp>
      <p:sp>
        <p:nvSpPr>
          <p:cNvPr id="3" name="Text Placeholder 2"/>
          <p:cNvSpPr>
            <a:spLocks noGrp="1"/>
          </p:cNvSpPr>
          <p:nvPr>
            <p:ph type="body" idx="1"/>
          </p:nvPr>
        </p:nvSpPr>
        <p:spPr>
          <a:xfrm>
            <a:off x="502920" y="1645920"/>
            <a:ext cx="10835640" cy="4384766"/>
          </a:xfrm>
          <a:prstGeom prst="rect">
            <a:avLst/>
          </a:prstGeom>
        </p:spPr>
        <p:txBody>
          <a:bodyPr vert="horz" lIns="0" tIns="45720" rIns="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CDDDB131-3540-5C41-8DA4-2CFBBE2DEB65}"/>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tx1"/>
                </a:solidFill>
                <a:latin typeface="+mn-lt"/>
              </a:rPr>
              <a:t>‹#›</a:t>
            </a:fld>
            <a:endParaRPr lang="en-US" sz="900" b="0">
              <a:solidFill>
                <a:schemeClr val="tx1"/>
              </a:solidFill>
              <a:latin typeface="+mn-lt"/>
            </a:endParaRPr>
          </a:p>
        </p:txBody>
      </p:sp>
      <p:pic>
        <p:nvPicPr>
          <p:cNvPr id="8" name="Picture 7">
            <a:extLst>
              <a:ext uri="{FF2B5EF4-FFF2-40B4-BE49-F238E27FC236}">
                <a16:creationId xmlns:a16="http://schemas.microsoft.com/office/drawing/2014/main" id="{8EC4306B-5D0C-694B-A578-60106BC41EAA}"/>
              </a:ext>
            </a:extLst>
          </p:cNvPr>
          <p:cNvPicPr>
            <a:picLocks noChangeAspect="1"/>
          </p:cNvPicPr>
          <p:nvPr/>
        </p:nvPicPr>
        <p:blipFill>
          <a:blip r:embed="rId37" cstate="print">
            <a:extLst>
              <a:ext uri="{28A0092B-C50C-407E-A947-70E740481C1C}">
                <a14:useLocalDpi xmlns:a14="http://schemas.microsoft.com/office/drawing/2010/main"/>
              </a:ext>
            </a:extLst>
          </a:blip>
          <a:stretch>
            <a:fillRect/>
          </a:stretch>
        </p:blipFill>
        <p:spPr>
          <a:xfrm>
            <a:off x="10030062" y="6305006"/>
            <a:ext cx="1324356" cy="280574"/>
          </a:xfrm>
          <a:prstGeom prst="rect">
            <a:avLst/>
          </a:prstGeom>
        </p:spPr>
      </p:pic>
    </p:spTree>
    <p:extLst>
      <p:ext uri="{BB962C8B-B14F-4D97-AF65-F5344CB8AC3E}">
        <p14:creationId xmlns:p14="http://schemas.microsoft.com/office/powerpoint/2010/main" val="106315995"/>
      </p:ext>
    </p:extLst>
  </p:cSld>
  <p:clrMap bg1="lt1" tx1="dk1" bg2="lt2" tx2="dk2" accent1="accent1" accent2="accent2" accent3="accent3" accent4="accent4" accent5="accent5" accent6="accent6" hlink="hlink" folHlink="folHlink"/>
  <p:sldLayoutIdLst>
    <p:sldLayoutId id="2147484012" r:id="rId1"/>
    <p:sldLayoutId id="2147483726" r:id="rId2"/>
    <p:sldLayoutId id="2147483727" r:id="rId3"/>
    <p:sldLayoutId id="2147483728" r:id="rId4"/>
    <p:sldLayoutId id="2147483729" r:id="rId5"/>
    <p:sldLayoutId id="2147483730" r:id="rId6"/>
    <p:sldLayoutId id="2147484021" r:id="rId7"/>
    <p:sldLayoutId id="2147483731" r:id="rId8"/>
    <p:sldLayoutId id="2147483732" r:id="rId9"/>
    <p:sldLayoutId id="2147484061" r:id="rId10"/>
    <p:sldLayoutId id="2147483734" r:id="rId11"/>
    <p:sldLayoutId id="2147483735" r:id="rId12"/>
    <p:sldLayoutId id="2147483736" r:id="rId13"/>
    <p:sldLayoutId id="2147483737" r:id="rId14"/>
    <p:sldLayoutId id="2147483738" r:id="rId15"/>
    <p:sldLayoutId id="2147483739" r:id="rId16"/>
    <p:sldLayoutId id="2147483740" r:id="rId17"/>
    <p:sldLayoutId id="2147483741" r:id="rId18"/>
    <p:sldLayoutId id="2147483742" r:id="rId19"/>
    <p:sldLayoutId id="2147483743" r:id="rId20"/>
    <p:sldLayoutId id="2147483745" r:id="rId21"/>
    <p:sldLayoutId id="2147483747" r:id="rId22"/>
    <p:sldLayoutId id="2147484029" r:id="rId23"/>
    <p:sldLayoutId id="2147483748" r:id="rId24"/>
    <p:sldLayoutId id="2147483749" r:id="rId25"/>
    <p:sldLayoutId id="2147483750" r:id="rId26"/>
    <p:sldLayoutId id="2147483752" r:id="rId27"/>
    <p:sldLayoutId id="2147483754" r:id="rId28"/>
    <p:sldLayoutId id="2147484018" r:id="rId29"/>
    <p:sldLayoutId id="2147484019" r:id="rId30"/>
    <p:sldLayoutId id="2147484024" r:id="rId31"/>
    <p:sldLayoutId id="2147484025" r:id="rId32"/>
    <p:sldLayoutId id="2147484026" r:id="rId33"/>
    <p:sldLayoutId id="2147484027" r:id="rId34"/>
    <p:sldLayoutId id="2147484028" r:id="rId35"/>
  </p:sldLayoutIdLst>
  <p:txStyles>
    <p:titleStyle>
      <a:lvl1pPr algn="l" defTabSz="457200" rtl="0" eaLnBrk="1" latinLnBrk="0" hangingPunct="1">
        <a:spcBef>
          <a:spcPct val="0"/>
        </a:spcBef>
        <a:buNone/>
        <a:defRPr sz="2800" b="1" i="0" kern="1200">
          <a:solidFill>
            <a:schemeClr val="tx2"/>
          </a:solidFill>
          <a:latin typeface="+mj-lt"/>
          <a:ea typeface="+mj-ea"/>
          <a:cs typeface="+mj-cs"/>
        </a:defRPr>
      </a:lvl1pPr>
    </p:titleStyle>
    <p:bodyStyle>
      <a:lvl1pPr marL="0" indent="0" algn="l" defTabSz="457200" rtl="0" eaLnBrk="1" latinLnBrk="0" hangingPunct="1">
        <a:spcBef>
          <a:spcPts val="1200"/>
        </a:spcBef>
        <a:buFont typeface="Arial"/>
        <a:buNone/>
        <a:defRPr sz="2400" kern="1200">
          <a:solidFill>
            <a:schemeClr val="tx1"/>
          </a:solidFill>
          <a:latin typeface="+mn-lt"/>
          <a:ea typeface="+mn-ea"/>
          <a:cs typeface="+mn-cs"/>
        </a:defRPr>
      </a:lvl1pPr>
      <a:lvl2pPr marL="742950" indent="-285750" algn="l" defTabSz="457200" rtl="0" eaLnBrk="1" latinLnBrk="0" hangingPunct="1">
        <a:spcBef>
          <a:spcPts val="1200"/>
        </a:spcBef>
        <a:buFont typeface="Arial" panose="020B0604020202020204" pitchFamily="34" charset="0"/>
        <a:buChar char="•"/>
        <a:defRPr sz="2200" kern="1200">
          <a:solidFill>
            <a:schemeClr val="tx1"/>
          </a:solidFill>
          <a:latin typeface="+mn-lt"/>
          <a:ea typeface="+mn-ea"/>
          <a:cs typeface="+mn-cs"/>
        </a:defRPr>
      </a:lvl2pPr>
      <a:lvl3pPr marL="1143000" indent="-228600" algn="l" defTabSz="457200" rtl="0" eaLnBrk="1" latinLnBrk="0" hangingPunct="1">
        <a:spcBef>
          <a:spcPts val="1200"/>
        </a:spcBef>
        <a:buFont typeface=".AppleSystemUIFont"/>
        <a:buChar char="–"/>
        <a:defRPr sz="2000" kern="1200">
          <a:solidFill>
            <a:schemeClr val="tx1"/>
          </a:solidFill>
          <a:latin typeface="+mn-lt"/>
          <a:ea typeface="+mn-ea"/>
          <a:cs typeface="+mn-cs"/>
        </a:defRPr>
      </a:lvl3pPr>
      <a:lvl4pPr marL="1600200" indent="-228600" algn="l" defTabSz="457200" rtl="0" eaLnBrk="1" latinLnBrk="0" hangingPunct="1">
        <a:spcBef>
          <a:spcPts val="1200"/>
        </a:spcBef>
        <a:buFont typeface="Arial" panose="020B0604020202020204" pitchFamily="34" charset="0"/>
        <a:buChar char="•"/>
        <a:defRPr sz="1800" kern="1200">
          <a:solidFill>
            <a:schemeClr val="tx1"/>
          </a:solidFill>
          <a:latin typeface="+mn-lt"/>
          <a:ea typeface="+mn-ea"/>
          <a:cs typeface="+mn-cs"/>
        </a:defRPr>
      </a:lvl4pPr>
      <a:lvl5pPr marL="2057400" indent="-228600" algn="l" defTabSz="457200" rtl="0" eaLnBrk="1" latinLnBrk="0" hangingPunct="1">
        <a:spcBef>
          <a:spcPts val="1200"/>
        </a:spcBef>
        <a:buFont typeface=".AppleSystemUIFont"/>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457200"/>
            <a:ext cx="10835640" cy="914400"/>
          </a:xfrm>
          <a:prstGeom prst="rect">
            <a:avLst/>
          </a:prstGeom>
        </p:spPr>
        <p:txBody>
          <a:bodyPr vert="horz" lIns="0" tIns="45720" rIns="0" bIns="45720" rtlCol="0" anchor="t" anchorCtr="0">
            <a:noAutofit/>
          </a:bodyPr>
          <a:lstStyle/>
          <a:p>
            <a:r>
              <a:rPr lang="en-US"/>
              <a:t>Click to edit Master title style</a:t>
            </a:r>
          </a:p>
        </p:txBody>
      </p:sp>
      <p:sp>
        <p:nvSpPr>
          <p:cNvPr id="3" name="Text Placeholder 2"/>
          <p:cNvSpPr>
            <a:spLocks noGrp="1"/>
          </p:cNvSpPr>
          <p:nvPr>
            <p:ph type="body" idx="1"/>
          </p:nvPr>
        </p:nvSpPr>
        <p:spPr>
          <a:xfrm>
            <a:off x="502920" y="1645920"/>
            <a:ext cx="10835640" cy="4384766"/>
          </a:xfrm>
          <a:prstGeom prst="rect">
            <a:avLst/>
          </a:prstGeom>
        </p:spPr>
        <p:txBody>
          <a:bodyPr vert="horz" lIns="0" tIns="45720" rIns="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CDDDB131-3540-5C41-8DA4-2CFBBE2DEB65}"/>
              </a:ext>
            </a:extLst>
          </p:cNvPr>
          <p:cNvSpPr txBox="1"/>
          <p:nvPr/>
        </p:nvSpPr>
        <p:spPr>
          <a:xfrm>
            <a:off x="11629218" y="6383903"/>
            <a:ext cx="324657" cy="230832"/>
          </a:xfrm>
          <a:prstGeom prst="rect">
            <a:avLst/>
          </a:prstGeom>
          <a:noFill/>
        </p:spPr>
        <p:txBody>
          <a:bodyPr wrap="none" lIns="0" rIns="0" rtlCol="0">
            <a:noAutofit/>
          </a:bodyPr>
          <a:lstStyle/>
          <a:p>
            <a:fld id="{E923BF6E-735E-374E-9377-9F34A0EA27A7}" type="slidenum">
              <a:rPr lang="en-US" sz="800" b="0" smtClean="0">
                <a:solidFill>
                  <a:schemeClr val="tx1"/>
                </a:solidFill>
                <a:latin typeface="+mn-lt"/>
              </a:rPr>
              <a:t>‹#›</a:t>
            </a:fld>
            <a:endParaRPr lang="en-US" sz="800" b="0">
              <a:solidFill>
                <a:schemeClr val="tx1"/>
              </a:solidFill>
              <a:latin typeface="+mn-lt"/>
            </a:endParaRPr>
          </a:p>
        </p:txBody>
      </p:sp>
      <p:pic>
        <p:nvPicPr>
          <p:cNvPr id="6" name="Picture 5">
            <a:extLst>
              <a:ext uri="{FF2B5EF4-FFF2-40B4-BE49-F238E27FC236}">
                <a16:creationId xmlns:a16="http://schemas.microsoft.com/office/drawing/2014/main" id="{AA26BD02-69A5-204C-9E30-6A9DC53A2CDF}"/>
              </a:ext>
            </a:extLst>
          </p:cNvPr>
          <p:cNvPicPr>
            <a:picLocks noChangeAspect="1"/>
          </p:cNvPicPr>
          <p:nvPr/>
        </p:nvPicPr>
        <p:blipFill>
          <a:blip r:embed="rId22" cstate="print">
            <a:extLst>
              <a:ext uri="{28A0092B-C50C-407E-A947-70E740481C1C}">
                <a14:useLocalDpi xmlns:a14="http://schemas.microsoft.com/office/drawing/2010/main"/>
              </a:ext>
            </a:extLst>
          </a:blip>
          <a:stretch>
            <a:fillRect/>
          </a:stretch>
        </p:blipFill>
        <p:spPr>
          <a:xfrm>
            <a:off x="9593898" y="6305006"/>
            <a:ext cx="1744663" cy="280574"/>
          </a:xfrm>
          <a:prstGeom prst="rect">
            <a:avLst/>
          </a:prstGeom>
        </p:spPr>
      </p:pic>
    </p:spTree>
    <p:extLst>
      <p:ext uri="{BB962C8B-B14F-4D97-AF65-F5344CB8AC3E}">
        <p14:creationId xmlns:p14="http://schemas.microsoft.com/office/powerpoint/2010/main" val="1099890172"/>
      </p:ext>
    </p:extLst>
  </p:cSld>
  <p:clrMap bg1="lt1" tx1="dk1" bg2="lt2" tx2="dk2" accent1="accent1" accent2="accent2" accent3="accent3" accent4="accent4" accent5="accent5" accent6="accent6" hlink="hlink" folHlink="folHlink"/>
  <p:sldLayoutIdLst>
    <p:sldLayoutId id="2147484119" r:id="rId1"/>
    <p:sldLayoutId id="2147484120" r:id="rId2"/>
    <p:sldLayoutId id="2147484121" r:id="rId3"/>
    <p:sldLayoutId id="2147484122" r:id="rId4"/>
    <p:sldLayoutId id="2147484123" r:id="rId5"/>
    <p:sldLayoutId id="2147484124" r:id="rId6"/>
    <p:sldLayoutId id="2147484125" r:id="rId7"/>
    <p:sldLayoutId id="2147484126" r:id="rId8"/>
    <p:sldLayoutId id="2147484127" r:id="rId9"/>
    <p:sldLayoutId id="2147484128" r:id="rId10"/>
    <p:sldLayoutId id="2147484129" r:id="rId11"/>
    <p:sldLayoutId id="2147484130" r:id="rId12"/>
    <p:sldLayoutId id="2147484131" r:id="rId13"/>
    <p:sldLayoutId id="2147484132" r:id="rId14"/>
    <p:sldLayoutId id="2147484133" r:id="rId15"/>
    <p:sldLayoutId id="2147484134" r:id="rId16"/>
    <p:sldLayoutId id="2147484135" r:id="rId17"/>
    <p:sldLayoutId id="2147484136" r:id="rId18"/>
    <p:sldLayoutId id="2147484137" r:id="rId19"/>
    <p:sldLayoutId id="2147484138" r:id="rId20"/>
  </p:sldLayoutIdLst>
  <p:txStyles>
    <p:titleStyle>
      <a:lvl1pPr algn="l" defTabSz="342900" rtl="0" eaLnBrk="1" latinLnBrk="0" hangingPunct="1">
        <a:spcBef>
          <a:spcPct val="0"/>
        </a:spcBef>
        <a:buNone/>
        <a:defRPr sz="2800" b="1" kern="1200">
          <a:solidFill>
            <a:schemeClr val="tx2"/>
          </a:solidFill>
          <a:latin typeface="+mj-lt"/>
          <a:ea typeface="+mj-ea"/>
          <a:cs typeface="+mj-cs"/>
        </a:defRPr>
      </a:lvl1pPr>
    </p:titleStyle>
    <p:bodyStyle>
      <a:lvl1pPr marL="0" indent="0" algn="l" defTabSz="342900" rtl="0" eaLnBrk="1" latinLnBrk="0" hangingPunct="1">
        <a:spcBef>
          <a:spcPts val="600"/>
        </a:spcBef>
        <a:buFont typeface="Arial"/>
        <a:buNone/>
        <a:defRPr sz="2000" kern="1200">
          <a:solidFill>
            <a:schemeClr val="tx1"/>
          </a:solidFill>
          <a:latin typeface="+mn-lt"/>
          <a:ea typeface="+mn-ea"/>
          <a:cs typeface="+mn-cs"/>
        </a:defRPr>
      </a:lvl1pPr>
      <a:lvl2pPr marL="557213" indent="-214313" algn="l" defTabSz="34290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2pPr>
      <a:lvl3pPr marL="857250" indent="-171450" algn="l" defTabSz="342900" rtl="0" eaLnBrk="1" latinLnBrk="0" hangingPunct="1">
        <a:spcBef>
          <a:spcPts val="600"/>
        </a:spcBef>
        <a:buFont typeface=".AppleSystemUIFont"/>
        <a:buChar char="–"/>
        <a:defRPr sz="2000" kern="1200">
          <a:solidFill>
            <a:schemeClr val="tx1"/>
          </a:solidFill>
          <a:latin typeface="+mn-lt"/>
          <a:ea typeface="+mn-ea"/>
          <a:cs typeface="+mn-cs"/>
        </a:defRPr>
      </a:lvl3pPr>
      <a:lvl4pPr marL="1200150" indent="-171450" algn="l" defTabSz="342900" rtl="0" eaLnBrk="1" latinLnBrk="0" hangingPunct="1">
        <a:spcBef>
          <a:spcPts val="600"/>
        </a:spcBef>
        <a:buFont typeface="Arial" panose="020B0604020202020204" pitchFamily="34" charset="0"/>
        <a:buChar char="•"/>
        <a:defRPr sz="2000" kern="1200">
          <a:solidFill>
            <a:schemeClr val="tx1"/>
          </a:solidFill>
          <a:latin typeface="+mn-lt"/>
          <a:ea typeface="+mn-ea"/>
          <a:cs typeface="+mn-cs"/>
        </a:defRPr>
      </a:lvl4pPr>
      <a:lvl5pPr marL="1543050" indent="-171450" algn="l" defTabSz="342900" rtl="0" eaLnBrk="1" latinLnBrk="0" hangingPunct="1">
        <a:spcBef>
          <a:spcPts val="600"/>
        </a:spcBef>
        <a:buFont typeface=".AppleSystemUIFont"/>
        <a:buChar char="-"/>
        <a:defRPr sz="2000" kern="1200">
          <a:solidFill>
            <a:schemeClr val="tx1"/>
          </a:solidFill>
          <a:latin typeface="+mn-lt"/>
          <a:ea typeface="+mn-ea"/>
          <a:cs typeface="+mn-c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02920" y="457200"/>
            <a:ext cx="10835640" cy="914400"/>
          </a:xfrm>
          <a:prstGeom prst="rect">
            <a:avLst/>
          </a:prstGeom>
        </p:spPr>
        <p:txBody>
          <a:bodyPr vert="horz" lIns="0" tIns="45720" rIns="0" bIns="45720" rtlCol="0" anchor="t" anchorCtr="0">
            <a:noAutofit/>
          </a:bodyPr>
          <a:lstStyle/>
          <a:p>
            <a:r>
              <a:rPr lang="en-US"/>
              <a:t>Click to edit Master title style</a:t>
            </a:r>
            <a:br>
              <a:rPr lang="en-US"/>
            </a:br>
            <a:r>
              <a:rPr lang="en-US"/>
              <a:t> </a:t>
            </a:r>
          </a:p>
        </p:txBody>
      </p:sp>
      <p:sp>
        <p:nvSpPr>
          <p:cNvPr id="3" name="Text Placeholder 2"/>
          <p:cNvSpPr>
            <a:spLocks noGrp="1"/>
          </p:cNvSpPr>
          <p:nvPr>
            <p:ph type="body" idx="1"/>
          </p:nvPr>
        </p:nvSpPr>
        <p:spPr>
          <a:xfrm>
            <a:off x="502920" y="1645920"/>
            <a:ext cx="10835640" cy="4384766"/>
          </a:xfrm>
          <a:prstGeom prst="rect">
            <a:avLst/>
          </a:prstGeom>
        </p:spPr>
        <p:txBody>
          <a:bodyPr vert="horz" lIns="0" tIns="45720" rIns="0" bIns="45720" rtlCol="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CDDDB131-3540-5C41-8DA4-2CFBBE2DEB65}"/>
              </a:ext>
            </a:extLst>
          </p:cNvPr>
          <p:cNvSpPr txBox="1"/>
          <p:nvPr/>
        </p:nvSpPr>
        <p:spPr>
          <a:xfrm>
            <a:off x="11629217" y="6383903"/>
            <a:ext cx="324657" cy="230832"/>
          </a:xfrm>
          <a:prstGeom prst="rect">
            <a:avLst/>
          </a:prstGeom>
          <a:noFill/>
        </p:spPr>
        <p:txBody>
          <a:bodyPr wrap="none" lIns="0" rIns="0" rtlCol="0">
            <a:noAutofit/>
          </a:bodyPr>
          <a:lstStyle/>
          <a:p>
            <a:fld id="{E923BF6E-735E-374E-9377-9F34A0EA27A7}" type="slidenum">
              <a:rPr lang="en-US" sz="900" b="0" smtClean="0">
                <a:solidFill>
                  <a:schemeClr val="tx1"/>
                </a:solidFill>
                <a:latin typeface="+mn-lt"/>
              </a:rPr>
              <a:t>‹#›</a:t>
            </a:fld>
            <a:endParaRPr lang="en-US" sz="900" b="0">
              <a:solidFill>
                <a:schemeClr val="tx1"/>
              </a:solidFill>
              <a:latin typeface="+mn-lt"/>
            </a:endParaRPr>
          </a:p>
        </p:txBody>
      </p:sp>
      <p:pic>
        <p:nvPicPr>
          <p:cNvPr id="6" name="Picture 5">
            <a:extLst>
              <a:ext uri="{FF2B5EF4-FFF2-40B4-BE49-F238E27FC236}">
                <a16:creationId xmlns:a16="http://schemas.microsoft.com/office/drawing/2014/main" id="{6218AB56-4E5D-44B7-94DD-CA9EE2170F41}"/>
              </a:ext>
            </a:extLst>
          </p:cNvPr>
          <p:cNvPicPr>
            <a:picLocks noChangeAspect="1"/>
          </p:cNvPicPr>
          <p:nvPr userDrawn="1"/>
        </p:nvPicPr>
        <p:blipFill>
          <a:blip r:embed="rId27"/>
          <a:stretch>
            <a:fillRect/>
          </a:stretch>
        </p:blipFill>
        <p:spPr>
          <a:xfrm>
            <a:off x="9719713" y="6099062"/>
            <a:ext cx="1618847" cy="603476"/>
          </a:xfrm>
          <a:prstGeom prst="rect">
            <a:avLst/>
          </a:prstGeom>
        </p:spPr>
      </p:pic>
    </p:spTree>
    <p:extLst>
      <p:ext uri="{BB962C8B-B14F-4D97-AF65-F5344CB8AC3E}">
        <p14:creationId xmlns:p14="http://schemas.microsoft.com/office/powerpoint/2010/main" val="56549456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702" r:id="rId8"/>
    <p:sldLayoutId id="2147483668" r:id="rId9"/>
    <p:sldLayoutId id="2147483669" r:id="rId10"/>
    <p:sldLayoutId id="2147483703" r:id="rId11"/>
    <p:sldLayoutId id="2147483670" r:id="rId12"/>
    <p:sldLayoutId id="2147483671" r:id="rId13"/>
    <p:sldLayoutId id="2147483704" r:id="rId14"/>
    <p:sldLayoutId id="2147483672" r:id="rId15"/>
    <p:sldLayoutId id="2147483673" r:id="rId16"/>
    <p:sldLayoutId id="2147483674" r:id="rId17"/>
    <p:sldLayoutId id="2147483675" r:id="rId18"/>
    <p:sldLayoutId id="2147483705" r:id="rId19"/>
    <p:sldLayoutId id="2147483708" r:id="rId20"/>
    <p:sldLayoutId id="2147483707" r:id="rId21"/>
    <p:sldLayoutId id="2147483706" r:id="rId22"/>
    <p:sldLayoutId id="2147483709" r:id="rId23"/>
    <p:sldLayoutId id="2147483918" r:id="rId24"/>
    <p:sldLayoutId id="2147483922" r:id="rId25"/>
  </p:sldLayoutIdLst>
  <p:txStyles>
    <p:titleStyle>
      <a:lvl1pPr algn="l" defTabSz="457200" rtl="0" eaLnBrk="1" latinLnBrk="0" hangingPunct="1">
        <a:spcBef>
          <a:spcPct val="0"/>
        </a:spcBef>
        <a:buNone/>
        <a:defRPr sz="2800" b="1" i="0" kern="1200">
          <a:solidFill>
            <a:schemeClr val="tx2"/>
          </a:solidFill>
          <a:latin typeface="+mj-lt"/>
          <a:ea typeface="+mj-ea"/>
          <a:cs typeface="+mj-cs"/>
        </a:defRPr>
      </a:lvl1pPr>
    </p:titleStyle>
    <p:bodyStyle>
      <a:lvl1pPr marL="0" indent="0" algn="l" defTabSz="457200" rtl="0" eaLnBrk="1" latinLnBrk="0" hangingPunct="1">
        <a:spcBef>
          <a:spcPts val="1200"/>
        </a:spcBef>
        <a:buFont typeface="Arial"/>
        <a:buNone/>
        <a:defRPr sz="2400" kern="1200">
          <a:solidFill>
            <a:schemeClr val="tx1"/>
          </a:solidFill>
          <a:latin typeface="+mn-lt"/>
          <a:ea typeface="+mn-ea"/>
          <a:cs typeface="+mn-cs"/>
        </a:defRPr>
      </a:lvl1pPr>
      <a:lvl2pPr marL="742950" indent="-285750" algn="l" defTabSz="457200" rtl="0" eaLnBrk="1" latinLnBrk="0" hangingPunct="1">
        <a:spcBef>
          <a:spcPts val="1200"/>
        </a:spcBef>
        <a:buFont typeface="Arial" panose="020B0604020202020204" pitchFamily="34" charset="0"/>
        <a:buChar char="•"/>
        <a:defRPr sz="2200" kern="1200">
          <a:solidFill>
            <a:schemeClr val="tx1"/>
          </a:solidFill>
          <a:latin typeface="+mn-lt"/>
          <a:ea typeface="+mn-ea"/>
          <a:cs typeface="+mn-cs"/>
        </a:defRPr>
      </a:lvl2pPr>
      <a:lvl3pPr marL="1143000" indent="-228600" algn="l" defTabSz="457200" rtl="0" eaLnBrk="1" latinLnBrk="0" hangingPunct="1">
        <a:spcBef>
          <a:spcPts val="1200"/>
        </a:spcBef>
        <a:buFont typeface=".AppleSystemUIFont"/>
        <a:buChar char="–"/>
        <a:defRPr sz="2000" kern="1200">
          <a:solidFill>
            <a:schemeClr val="tx1"/>
          </a:solidFill>
          <a:latin typeface="+mn-lt"/>
          <a:ea typeface="+mn-ea"/>
          <a:cs typeface="+mn-cs"/>
        </a:defRPr>
      </a:lvl3pPr>
      <a:lvl4pPr marL="1600200" indent="-228600" algn="l" defTabSz="457200" rtl="0" eaLnBrk="1" latinLnBrk="0" hangingPunct="1">
        <a:spcBef>
          <a:spcPts val="1200"/>
        </a:spcBef>
        <a:buFont typeface="Arial" panose="020B0604020202020204" pitchFamily="34" charset="0"/>
        <a:buChar char="•"/>
        <a:defRPr sz="1800" kern="1200">
          <a:solidFill>
            <a:schemeClr val="tx1"/>
          </a:solidFill>
          <a:latin typeface="+mn-lt"/>
          <a:ea typeface="+mn-ea"/>
          <a:cs typeface="+mn-cs"/>
        </a:defRPr>
      </a:lvl4pPr>
      <a:lvl5pPr marL="2057400" indent="-228600" algn="l" defTabSz="457200" rtl="0" eaLnBrk="1" latinLnBrk="0" hangingPunct="1">
        <a:spcBef>
          <a:spcPts val="1200"/>
        </a:spcBef>
        <a:buFont typeface=".AppleSystemUIFont"/>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8.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1.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hyperlink" Target="https://www.mouthwatch.com/wp-content/uploads/2020/07/in-office-teledentistry-workflows-mjl-20200707.pdf"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10.xml"/><Relationship Id="rId1" Type="http://schemas.openxmlformats.org/officeDocument/2006/relationships/slideLayout" Target="../slideLayouts/slideLayout45.xml"/></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1.xml"/><Relationship Id="rId1" Type="http://schemas.openxmlformats.org/officeDocument/2006/relationships/slideLayout" Target="../slideLayouts/slideLayout45.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2.xml"/><Relationship Id="rId1" Type="http://schemas.openxmlformats.org/officeDocument/2006/relationships/slideLayout" Target="../slideLayouts/slideLayout45.xml"/></Relationships>
</file>

<file path=ppt/slides/_rels/slide1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3.xml"/><Relationship Id="rId1" Type="http://schemas.openxmlformats.org/officeDocument/2006/relationships/slideLayout" Target="../slideLayouts/slideLayout45.xml"/></Relationships>
</file>

<file path=ppt/slides/_rels/slide16.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4.xml"/><Relationship Id="rId1" Type="http://schemas.openxmlformats.org/officeDocument/2006/relationships/slideLayout" Target="../slideLayouts/slideLayout45.xml"/></Relationships>
</file>

<file path=ppt/slides/_rels/slide17.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16.xml"/><Relationship Id="rId1" Type="http://schemas.openxmlformats.org/officeDocument/2006/relationships/slideLayout" Target="../slideLayouts/slideLayout45.xml"/></Relationships>
</file>

<file path=ppt/slides/_rels/slide19.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7.xml"/><Relationship Id="rId1" Type="http://schemas.openxmlformats.org/officeDocument/2006/relationships/slideLayout" Target="../slideLayouts/slideLayout45.xml"/></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45.xml"/></Relationships>
</file>

<file path=ppt/slides/_rels/slide21.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19.xml"/><Relationship Id="rId1" Type="http://schemas.openxmlformats.org/officeDocument/2006/relationships/slideLayout" Target="../slideLayouts/slideLayout79.xml"/><Relationship Id="rId4" Type="http://schemas.openxmlformats.org/officeDocument/2006/relationships/image" Target="../media/image38.png"/></Relationships>
</file>

<file path=ppt/slides/_rels/slide2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20.xml"/><Relationship Id="rId1" Type="http://schemas.openxmlformats.org/officeDocument/2006/relationships/slideLayout" Target="../slideLayouts/slideLayout45.xml"/><Relationship Id="rId4" Type="http://schemas.openxmlformats.org/officeDocument/2006/relationships/image" Target="../media/image40.jpe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4.xml.rels><?xml version="1.0" encoding="UTF-8" standalone="yes"?>
<Relationships xmlns="http://schemas.openxmlformats.org/package/2006/relationships"><Relationship Id="rId3" Type="http://schemas.openxmlformats.org/officeDocument/2006/relationships/image" Target="../media/image41.emf"/><Relationship Id="rId2" Type="http://schemas.openxmlformats.org/officeDocument/2006/relationships/notesSlide" Target="../notesSlides/notesSlide21.xml"/><Relationship Id="rId1" Type="http://schemas.openxmlformats.org/officeDocument/2006/relationships/slideLayout" Target="../slideLayouts/slideLayout6.xml"/><Relationship Id="rId5" Type="http://schemas.openxmlformats.org/officeDocument/2006/relationships/image" Target="../media/image42.emf"/><Relationship Id="rId4" Type="http://schemas.openxmlformats.org/officeDocument/2006/relationships/hyperlink" Target="https://www.dentaquestpartnership.org/system/files/DQP_Teledentistry_Survey_Communications_Brief_0.pdf"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43.emf"/><Relationship Id="rId2" Type="http://schemas.openxmlformats.org/officeDocument/2006/relationships/notesSlide" Target="../notesSlides/notesSlide22.xml"/><Relationship Id="rId1" Type="http://schemas.openxmlformats.org/officeDocument/2006/relationships/slideLayout" Target="../slideLayouts/slideLayout6.xml"/><Relationship Id="rId4" Type="http://schemas.openxmlformats.org/officeDocument/2006/relationships/hyperlink" Target="https://www.dentaquestpartnership.org/system/files/DQP_Teledentistry_Survey_Communications_Brief_0.pdf"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44.emf"/><Relationship Id="rId2" Type="http://schemas.openxmlformats.org/officeDocument/2006/relationships/notesSlide" Target="../notesSlides/notesSlide23.xml"/><Relationship Id="rId1" Type="http://schemas.openxmlformats.org/officeDocument/2006/relationships/slideLayout" Target="../slideLayouts/slideLayout6.xml"/><Relationship Id="rId4" Type="http://schemas.openxmlformats.org/officeDocument/2006/relationships/hyperlink" Target="https://www.dentaquestpartnership.org/system/files/DQP_Teledentistry_Survey_Communications_Brief_0.pdf" TargetMode="External"/></Relationships>
</file>

<file path=ppt/slides/_rels/slide27.xml.rels><?xml version="1.0" encoding="UTF-8" standalone="yes"?>
<Relationships xmlns="http://schemas.openxmlformats.org/package/2006/relationships"><Relationship Id="rId3" Type="http://schemas.openxmlformats.org/officeDocument/2006/relationships/hyperlink" Target="https://dentavox.dentacoin.com/blog/teledentistry-surteledentistry-survey-shows-patients-are-ready-to-welcome-it/" TargetMode="External"/><Relationship Id="rId2" Type="http://schemas.openxmlformats.org/officeDocument/2006/relationships/notesSlide" Target="../notesSlides/notesSlide24.xml"/><Relationship Id="rId1" Type="http://schemas.openxmlformats.org/officeDocument/2006/relationships/slideLayout" Target="../slideLayouts/slideLayout8.xml"/><Relationship Id="rId6" Type="http://schemas.openxmlformats.org/officeDocument/2006/relationships/chart" Target="../charts/chart3.xml"/><Relationship Id="rId5" Type="http://schemas.openxmlformats.org/officeDocument/2006/relationships/chart" Target="../charts/chart2.xml"/><Relationship Id="rId4" Type="http://schemas.openxmlformats.org/officeDocument/2006/relationships/chart" Target="../charts/chart1.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emf"/><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image" Target="../media/image48.emf"/><Relationship Id="rId5" Type="http://schemas.openxmlformats.org/officeDocument/2006/relationships/image" Target="../media/image47.png"/><Relationship Id="rId4" Type="http://schemas.openxmlformats.org/officeDocument/2006/relationships/image" Target="../media/image46.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30.xml.rels><?xml version="1.0" encoding="UTF-8" standalone="yes"?>
<Relationships xmlns="http://schemas.openxmlformats.org/package/2006/relationships"><Relationship Id="rId3" Type="http://schemas.openxmlformats.org/officeDocument/2006/relationships/image" Target="../media/image51.emf"/><Relationship Id="rId2" Type="http://schemas.openxmlformats.org/officeDocument/2006/relationships/notesSlide" Target="../notesSlides/notesSlide27.xml"/><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8.xml"/><Relationship Id="rId1" Type="http://schemas.openxmlformats.org/officeDocument/2006/relationships/slideLayout" Target="../slideLayouts/slideLayout17.xml"/><Relationship Id="rId4" Type="http://schemas.openxmlformats.org/officeDocument/2006/relationships/hyperlink" Target="https://www.dentaquestpartnership.org/customized-screens-patient-self-management" TargetMode="External"/></Relationships>
</file>

<file path=ppt/slides/_rels/slide32.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31.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3" Type="http://schemas.openxmlformats.org/officeDocument/2006/relationships/hyperlink" Target="https://success.ada.org/~/media/CPS/Files/COVID/ADA_COVID_Coding_and_Billing_Guidance.pdf" TargetMode="External"/><Relationship Id="rId2" Type="http://schemas.openxmlformats.org/officeDocument/2006/relationships/notesSlide" Target="../notesSlides/notesSlide29.xml"/><Relationship Id="rId1" Type="http://schemas.openxmlformats.org/officeDocument/2006/relationships/slideLayout" Target="../slideLayouts/slideLayout22.xml"/><Relationship Id="rId4" Type="http://schemas.openxmlformats.org/officeDocument/2006/relationships/image" Target="../media/image54.emf"/></Relationships>
</file>

<file path=ppt/slides/_rels/slide35.xml.rels><?xml version="1.0" encoding="UTF-8" standalone="yes"?>
<Relationships xmlns="http://schemas.openxmlformats.org/package/2006/relationships"><Relationship Id="rId2" Type="http://schemas.openxmlformats.org/officeDocument/2006/relationships/image" Target="../media/image55.png"/><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hyperlink" Target="https://tsg.web.unc.edu/" TargetMode="External"/><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18.svg"/><Relationship Id="rId5" Type="http://schemas.openxmlformats.org/officeDocument/2006/relationships/image" Target="../media/image17.png"/><Relationship Id="rId4" Type="http://schemas.openxmlformats.org/officeDocument/2006/relationships/image" Target="../media/image16.svg"/></Relationships>
</file>

<file path=ppt/slides/_rels/slide7.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hyperlink" Target="https://www.ada.org/en/about-the-ada/ada-positions-policies-and-statements/statement-on-teledentistry" TargetMode="External"/><Relationship Id="rId7" Type="http://schemas.openxmlformats.org/officeDocument/2006/relationships/image" Target="../media/image18.svg"/><Relationship Id="rId12"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17.png"/><Relationship Id="rId11" Type="http://schemas.openxmlformats.org/officeDocument/2006/relationships/image" Target="../media/image24.svg"/><Relationship Id="rId5" Type="http://schemas.openxmlformats.org/officeDocument/2006/relationships/image" Target="../media/image20.svg"/><Relationship Id="rId10" Type="http://schemas.openxmlformats.org/officeDocument/2006/relationships/image" Target="../media/image23.png"/><Relationship Id="rId4" Type="http://schemas.openxmlformats.org/officeDocument/2006/relationships/image" Target="../media/image19.png"/><Relationship Id="rId9"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hyperlink" Target="https://www.mouthwatch.com/teledentistry-in-your-state-regulations-quick-facts/" TargetMode="External"/><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29.jpeg"/><Relationship Id="rId5" Type="http://schemas.openxmlformats.org/officeDocument/2006/relationships/image" Target="../media/image28.png"/><Relationship Id="rId4" Type="http://schemas.openxmlformats.org/officeDocument/2006/relationships/image" Target="../media/image27.png"/></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23DC793-2990-47AB-9B71-52EEE72EFC0B}"/>
              </a:ext>
            </a:extLst>
          </p:cNvPr>
          <p:cNvSpPr/>
          <p:nvPr/>
        </p:nvSpPr>
        <p:spPr>
          <a:xfrm>
            <a:off x="2875" y="-4313"/>
            <a:ext cx="12186249" cy="5357003"/>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1">
            <a:extLst>
              <a:ext uri="{FF2B5EF4-FFF2-40B4-BE49-F238E27FC236}">
                <a16:creationId xmlns:a16="http://schemas.microsoft.com/office/drawing/2014/main" id="{60210121-CE4D-4277-8047-FD5B4616349C}"/>
              </a:ext>
            </a:extLst>
          </p:cNvPr>
          <p:cNvSpPr>
            <a:spLocks noGrp="1"/>
          </p:cNvSpPr>
          <p:nvPr>
            <p:ph type="ctrTitle"/>
          </p:nvPr>
        </p:nvSpPr>
        <p:spPr>
          <a:xfrm>
            <a:off x="502920" y="1035588"/>
            <a:ext cx="10363200" cy="2743200"/>
          </a:xfrm>
        </p:spPr>
        <p:txBody>
          <a:bodyPr/>
          <a:lstStyle/>
          <a:p>
            <a:r>
              <a:rPr lang="en-US" sz="6200" dirty="0">
                <a:latin typeface="Impact"/>
              </a:rPr>
              <a:t>Oral care beyond the chair: teledentistry Strategies for whole-person care</a:t>
            </a:r>
            <a:endParaRPr lang="en-US" sz="6200" dirty="0"/>
          </a:p>
        </p:txBody>
      </p:sp>
      <p:sp>
        <p:nvSpPr>
          <p:cNvPr id="15" name="Subtitle 2">
            <a:extLst>
              <a:ext uri="{FF2B5EF4-FFF2-40B4-BE49-F238E27FC236}">
                <a16:creationId xmlns:a16="http://schemas.microsoft.com/office/drawing/2014/main" id="{D0E98AA7-AC2A-4A65-8741-35FCE6D15EC0}"/>
              </a:ext>
            </a:extLst>
          </p:cNvPr>
          <p:cNvSpPr>
            <a:spLocks noGrp="1"/>
          </p:cNvSpPr>
          <p:nvPr>
            <p:ph type="subTitle" idx="1"/>
          </p:nvPr>
        </p:nvSpPr>
        <p:spPr>
          <a:xfrm>
            <a:off x="502920" y="4240014"/>
            <a:ext cx="5878002" cy="914400"/>
          </a:xfrm>
        </p:spPr>
        <p:txBody>
          <a:bodyPr vert="horz" lIns="0" tIns="45720" rIns="0" bIns="45720" rtlCol="0" anchor="t">
            <a:noAutofit/>
          </a:bodyPr>
          <a:lstStyle/>
          <a:p>
            <a:r>
              <a:rPr lang="en-US" dirty="0">
                <a:solidFill>
                  <a:schemeClr val="accent2"/>
                </a:solidFill>
                <a:ea typeface="+mn-lt"/>
                <a:cs typeface="+mn-lt"/>
              </a:rPr>
              <a:t>Job Corps Oral Health Program | February 10, 2021</a:t>
            </a:r>
            <a:endParaRPr lang="en-US" dirty="0">
              <a:solidFill>
                <a:schemeClr val="accent2"/>
              </a:solidFill>
            </a:endParaRPr>
          </a:p>
          <a:p>
            <a:r>
              <a:rPr lang="en-US" dirty="0"/>
              <a:t>Caroline McLeod, RDH, MS</a:t>
            </a:r>
            <a:endParaRPr lang="en-US" dirty="0">
              <a:cs typeface="Arial"/>
            </a:endParaRPr>
          </a:p>
          <a:p>
            <a:r>
              <a:rPr lang="en-US" dirty="0">
                <a:cs typeface="Arial"/>
              </a:rPr>
              <a:t>Carolyn Brown, DDS, MEd</a:t>
            </a:r>
          </a:p>
          <a:p>
            <a:endParaRPr lang="en-US" dirty="0">
              <a:cs typeface="Arial"/>
            </a:endParaRPr>
          </a:p>
          <a:p>
            <a:endParaRPr lang="en-US" dirty="0">
              <a:cs typeface="Arial"/>
            </a:endParaRPr>
          </a:p>
        </p:txBody>
      </p:sp>
    </p:spTree>
    <p:extLst>
      <p:ext uri="{BB962C8B-B14F-4D97-AF65-F5344CB8AC3E}">
        <p14:creationId xmlns:p14="http://schemas.microsoft.com/office/powerpoint/2010/main" val="705864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1125826-3397-4F68-856C-A5122A0563CB}"/>
              </a:ext>
            </a:extLst>
          </p:cNvPr>
          <p:cNvSpPr>
            <a:spLocks noGrp="1"/>
          </p:cNvSpPr>
          <p:nvPr>
            <p:ph type="title"/>
          </p:nvPr>
        </p:nvSpPr>
        <p:spPr>
          <a:xfrm>
            <a:off x="502920" y="457200"/>
            <a:ext cx="10835640" cy="914400"/>
          </a:xfrm>
        </p:spPr>
        <p:txBody>
          <a:bodyPr vert="horz" lIns="0" tIns="45720" rIns="0" bIns="45720" rtlCol="0" anchor="t" anchorCtr="0">
            <a:normAutofit/>
          </a:bodyPr>
          <a:lstStyle/>
          <a:p>
            <a:r>
              <a:rPr lang="en-US" b="1" i="0" kern="1200">
                <a:latin typeface="+mj-lt"/>
                <a:ea typeface="+mj-ea"/>
                <a:cs typeface="+mj-cs"/>
              </a:rPr>
              <a:t>Versatility of Teledentistry </a:t>
            </a:r>
          </a:p>
        </p:txBody>
      </p:sp>
      <p:sp>
        <p:nvSpPr>
          <p:cNvPr id="12" name="Text Placeholder 4">
            <a:extLst>
              <a:ext uri="{FF2B5EF4-FFF2-40B4-BE49-F238E27FC236}">
                <a16:creationId xmlns:a16="http://schemas.microsoft.com/office/drawing/2014/main" id="{DFB16130-C9C3-4EE1-97FE-48A869DEDFBE}"/>
              </a:ext>
            </a:extLst>
          </p:cNvPr>
          <p:cNvSpPr>
            <a:spLocks noGrp="1"/>
          </p:cNvSpPr>
          <p:nvPr>
            <p:ph type="body" sz="half" idx="10"/>
          </p:nvPr>
        </p:nvSpPr>
        <p:spPr>
          <a:xfrm>
            <a:off x="502921" y="6215986"/>
            <a:ext cx="5593080" cy="336332"/>
          </a:xfrm>
        </p:spPr>
        <p:txBody>
          <a:bodyPr/>
          <a:lstStyle/>
          <a:p>
            <a:endParaRPr lang="en-US"/>
          </a:p>
        </p:txBody>
      </p:sp>
      <p:graphicFrame>
        <p:nvGraphicFramePr>
          <p:cNvPr id="8" name="Content Placeholder 5">
            <a:extLst>
              <a:ext uri="{FF2B5EF4-FFF2-40B4-BE49-F238E27FC236}">
                <a16:creationId xmlns:a16="http://schemas.microsoft.com/office/drawing/2014/main" id="{93772A47-AECA-42DF-90B1-81CD75261A73}"/>
              </a:ext>
            </a:extLst>
          </p:cNvPr>
          <p:cNvGraphicFramePr>
            <a:graphicFrameLocks noGrp="1"/>
          </p:cNvGraphicFramePr>
          <p:nvPr>
            <p:ph sz="half" idx="2"/>
            <p:extLst>
              <p:ext uri="{D42A27DB-BD31-4B8C-83A1-F6EECF244321}">
                <p14:modId xmlns:p14="http://schemas.microsoft.com/office/powerpoint/2010/main" val="604187909"/>
              </p:ext>
            </p:extLst>
          </p:nvPr>
        </p:nvGraphicFramePr>
        <p:xfrm>
          <a:off x="1525724" y="1200223"/>
          <a:ext cx="1761515" cy="480606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5" name="Content Placeholder 6">
            <a:extLst>
              <a:ext uri="{FF2B5EF4-FFF2-40B4-BE49-F238E27FC236}">
                <a16:creationId xmlns:a16="http://schemas.microsoft.com/office/drawing/2014/main" id="{02B60E60-BB0C-42DC-A4EE-2DB0EA28366F}"/>
              </a:ext>
            </a:extLst>
          </p:cNvPr>
          <p:cNvSpPr txBox="1">
            <a:spLocks/>
          </p:cNvSpPr>
          <p:nvPr/>
        </p:nvSpPr>
        <p:spPr>
          <a:xfrm>
            <a:off x="3494535" y="1266084"/>
            <a:ext cx="7768283" cy="4542332"/>
          </a:xfrm>
          <a:prstGeom prst="rect">
            <a:avLst/>
          </a:prstGeom>
        </p:spPr>
        <p:txBody>
          <a:bodyPr vert="horz" lIns="0" tIns="45720" rIns="0" bIns="0" rtlCol="0" anchor="b" anchorCtr="0">
            <a:noAutofit/>
          </a:bodyPr>
          <a:lstStyle>
            <a:lvl1pPr marL="0" indent="0" algn="l" defTabSz="457200" rtl="0" eaLnBrk="1" latinLnBrk="0" hangingPunct="1">
              <a:spcBef>
                <a:spcPts val="0"/>
              </a:spcBef>
              <a:buFont typeface="Arial"/>
              <a:buNone/>
              <a:defRPr sz="800" b="0" kern="1200">
                <a:solidFill>
                  <a:schemeClr val="tx1"/>
                </a:solidFill>
                <a:latin typeface="+mn-lt"/>
                <a:ea typeface="+mn-ea"/>
                <a:cs typeface="+mn-cs"/>
              </a:defRPr>
            </a:lvl1pPr>
            <a:lvl2pPr marL="457200" indent="0" algn="l" defTabSz="457200" rtl="0" eaLnBrk="1" latinLnBrk="0" hangingPunct="1">
              <a:spcBef>
                <a:spcPts val="1200"/>
              </a:spcBef>
              <a:buFont typeface="Arial" panose="020B0604020202020204" pitchFamily="34" charset="0"/>
              <a:buNone/>
              <a:defRPr sz="1200" kern="1200">
                <a:solidFill>
                  <a:schemeClr val="tx1"/>
                </a:solidFill>
                <a:latin typeface="+mn-lt"/>
                <a:ea typeface="+mn-ea"/>
                <a:cs typeface="+mn-cs"/>
              </a:defRPr>
            </a:lvl2pPr>
            <a:lvl3pPr marL="914400" indent="0" algn="l" defTabSz="457200" rtl="0" eaLnBrk="1" latinLnBrk="0" hangingPunct="1">
              <a:spcBef>
                <a:spcPts val="1200"/>
              </a:spcBef>
              <a:buFont typeface=".AppleSystemUIFont"/>
              <a:buNone/>
              <a:defRPr sz="1000" kern="1200">
                <a:solidFill>
                  <a:schemeClr val="tx1"/>
                </a:solidFill>
                <a:latin typeface="+mn-lt"/>
                <a:ea typeface="+mn-ea"/>
                <a:cs typeface="+mn-cs"/>
              </a:defRPr>
            </a:lvl3pPr>
            <a:lvl4pPr marL="1371600" indent="0" algn="l" defTabSz="457200" rtl="0" eaLnBrk="1" latinLnBrk="0" hangingPunct="1">
              <a:spcBef>
                <a:spcPts val="1200"/>
              </a:spcBef>
              <a:buFont typeface="Arial" panose="020B0604020202020204" pitchFamily="34" charset="0"/>
              <a:buNone/>
              <a:defRPr sz="900" kern="1200">
                <a:solidFill>
                  <a:schemeClr val="tx1"/>
                </a:solidFill>
                <a:latin typeface="+mn-lt"/>
                <a:ea typeface="+mn-ea"/>
                <a:cs typeface="+mn-cs"/>
              </a:defRPr>
            </a:lvl4pPr>
            <a:lvl5pPr marL="1828800" indent="0" algn="l" defTabSz="457200" rtl="0" eaLnBrk="1" latinLnBrk="0" hangingPunct="1">
              <a:spcBef>
                <a:spcPts val="1200"/>
              </a:spcBef>
              <a:buFont typeface=".AppleSystemUIFont"/>
              <a:buNone/>
              <a:defRPr sz="900"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900"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900"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900"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900" kern="1200">
                <a:solidFill>
                  <a:schemeClr val="tx1"/>
                </a:solidFill>
                <a:latin typeface="+mn-lt"/>
                <a:ea typeface="+mn-ea"/>
                <a:cs typeface="+mn-cs"/>
              </a:defRPr>
            </a:lvl9pPr>
          </a:lstStyle>
          <a:p>
            <a:r>
              <a:rPr lang="en-US" sz="2200"/>
              <a:t>Triage patients, emergency and new patients</a:t>
            </a:r>
            <a:endParaRPr lang="en-US">
              <a:cs typeface="Arial" panose="020B0604020202020204"/>
            </a:endParaRPr>
          </a:p>
          <a:p>
            <a:endParaRPr lang="en-US" sz="2200">
              <a:cs typeface="Arial"/>
            </a:endParaRPr>
          </a:p>
          <a:p>
            <a:pPr marL="113665"/>
            <a:endParaRPr lang="en-US" sz="2200">
              <a:cs typeface="Arial"/>
            </a:endParaRPr>
          </a:p>
          <a:p>
            <a:r>
              <a:rPr lang="en-US" sz="2200"/>
              <a:t>Educate Patients, Families, Caregivers</a:t>
            </a:r>
            <a:endParaRPr lang="en-US">
              <a:cs typeface="Arial" panose="020B0604020202020204"/>
            </a:endParaRPr>
          </a:p>
          <a:p>
            <a:endParaRPr lang="en-US" sz="2200">
              <a:cs typeface="Arial" panose="020B0604020202020204"/>
            </a:endParaRPr>
          </a:p>
          <a:p>
            <a:pPr marL="113665"/>
            <a:endParaRPr lang="en-US" sz="2200">
              <a:cs typeface="Arial" panose="020B0604020202020204"/>
            </a:endParaRPr>
          </a:p>
          <a:p>
            <a:r>
              <a:rPr lang="en-US" sz="2200"/>
              <a:t>A-level training for new staff</a:t>
            </a:r>
            <a:endParaRPr lang="en-US" sz="2200">
              <a:cs typeface="Arial"/>
            </a:endParaRPr>
          </a:p>
          <a:p>
            <a:endParaRPr lang="en-US" sz="2200">
              <a:cs typeface="Arial"/>
            </a:endParaRPr>
          </a:p>
          <a:p>
            <a:pPr marL="113665"/>
            <a:endParaRPr lang="en-US" sz="2200">
              <a:cs typeface="Arial"/>
            </a:endParaRPr>
          </a:p>
          <a:p>
            <a:r>
              <a:rPr lang="en-US" sz="2200"/>
              <a:t>Comprehensive Care</a:t>
            </a:r>
            <a:endParaRPr lang="en-US" sz="2200">
              <a:cs typeface="Arial"/>
            </a:endParaRPr>
          </a:p>
          <a:p>
            <a:endParaRPr lang="en-US" sz="2200">
              <a:cs typeface="Arial"/>
            </a:endParaRPr>
          </a:p>
          <a:p>
            <a:pPr marL="113665"/>
            <a:endParaRPr lang="en-US" sz="2200">
              <a:cs typeface="Arial"/>
            </a:endParaRPr>
          </a:p>
          <a:p>
            <a:r>
              <a:rPr lang="en-US" sz="2200"/>
              <a:t>Home Care + Coordinate Care</a:t>
            </a:r>
            <a:endParaRPr lang="en-US" sz="2200">
              <a:cs typeface="Arial"/>
            </a:endParaRPr>
          </a:p>
        </p:txBody>
      </p:sp>
    </p:spTree>
    <p:extLst>
      <p:ext uri="{BB962C8B-B14F-4D97-AF65-F5344CB8AC3E}">
        <p14:creationId xmlns:p14="http://schemas.microsoft.com/office/powerpoint/2010/main" val="30664481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BE032E1-6CA7-4E02-A861-DDD4284B7D39}"/>
              </a:ext>
            </a:extLst>
          </p:cNvPr>
          <p:cNvSpPr>
            <a:spLocks noGrp="1"/>
          </p:cNvSpPr>
          <p:nvPr>
            <p:ph type="title"/>
          </p:nvPr>
        </p:nvSpPr>
        <p:spPr/>
        <p:txBody>
          <a:bodyPr/>
          <a:lstStyle/>
          <a:p>
            <a:r>
              <a:rPr lang="en-US">
                <a:cs typeface="Arial"/>
              </a:rPr>
              <a:t>Teledentistry: A Visual</a:t>
            </a:r>
            <a:endParaRPr lang="en-US"/>
          </a:p>
        </p:txBody>
      </p:sp>
      <p:pic>
        <p:nvPicPr>
          <p:cNvPr id="7" name="Picture 4" descr="Diagram, engineering drawing&#10;&#10;Description automatically generated">
            <a:extLst>
              <a:ext uri="{FF2B5EF4-FFF2-40B4-BE49-F238E27FC236}">
                <a16:creationId xmlns:a16="http://schemas.microsoft.com/office/drawing/2014/main" id="{02205C26-7384-4817-8B59-56C5865A5A06}"/>
              </a:ext>
            </a:extLst>
          </p:cNvPr>
          <p:cNvPicPr>
            <a:picLocks noGrp="1" noChangeAspect="1"/>
          </p:cNvPicPr>
          <p:nvPr>
            <p:ph sz="half" idx="1"/>
          </p:nvPr>
        </p:nvPicPr>
        <p:blipFill>
          <a:blip r:embed="rId3"/>
          <a:stretch>
            <a:fillRect/>
          </a:stretch>
        </p:blipFill>
        <p:spPr>
          <a:xfrm>
            <a:off x="2302118" y="1011319"/>
            <a:ext cx="7251621" cy="5405556"/>
          </a:xfrm>
        </p:spPr>
      </p:pic>
      <p:sp>
        <p:nvSpPr>
          <p:cNvPr id="6" name="TextBox 5">
            <a:extLst>
              <a:ext uri="{FF2B5EF4-FFF2-40B4-BE49-F238E27FC236}">
                <a16:creationId xmlns:a16="http://schemas.microsoft.com/office/drawing/2014/main" id="{5C0C5187-4DD0-4D32-B1D0-B73A05870ECC}"/>
              </a:ext>
            </a:extLst>
          </p:cNvPr>
          <p:cNvSpPr txBox="1"/>
          <p:nvPr/>
        </p:nvSpPr>
        <p:spPr>
          <a:xfrm>
            <a:off x="5930" y="6576384"/>
            <a:ext cx="5259238" cy="2308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900"/>
              <a:t>Source: </a:t>
            </a:r>
            <a:r>
              <a:rPr lang="en-US" sz="900">
                <a:ea typeface="+mn-lt"/>
                <a:cs typeface="+mn-lt"/>
                <a:hlinkClick r:id="rId4"/>
              </a:rPr>
              <a:t>in-office-teledentistry-workflows-mjl-20200707 (mouthwatch.com)</a:t>
            </a:r>
            <a:endParaRPr lang="en-US" sz="900"/>
          </a:p>
        </p:txBody>
      </p:sp>
    </p:spTree>
    <p:extLst>
      <p:ext uri="{BB962C8B-B14F-4D97-AF65-F5344CB8AC3E}">
        <p14:creationId xmlns:p14="http://schemas.microsoft.com/office/powerpoint/2010/main" val="23597326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Emergency Workflow</a:t>
            </a:r>
          </a:p>
        </p:txBody>
      </p:sp>
      <p:sp>
        <p:nvSpPr>
          <p:cNvPr id="11" name="Rounded Rectangle 3">
            <a:extLst>
              <a:ext uri="{FF2B5EF4-FFF2-40B4-BE49-F238E27FC236}">
                <a16:creationId xmlns:a16="http://schemas.microsoft.com/office/drawing/2014/main" id="{2C7C828B-D372-4F5A-BC81-6EFB63B31F33}"/>
              </a:ext>
            </a:extLst>
          </p:cNvPr>
          <p:cNvSpPr/>
          <p:nvPr/>
        </p:nvSpPr>
        <p:spPr>
          <a:xfrm>
            <a:off x="161226" y="2466385"/>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Initiate and consent for </a:t>
            </a:r>
            <a:r>
              <a:rPr lang="en-US" sz="1050" err="1"/>
              <a:t>teledental</a:t>
            </a:r>
            <a:r>
              <a:rPr lang="en-US" sz="1050"/>
              <a:t> visit</a:t>
            </a:r>
            <a:endParaRPr lang="en-US"/>
          </a:p>
        </p:txBody>
      </p:sp>
      <p:cxnSp>
        <p:nvCxnSpPr>
          <p:cNvPr id="28" name="Straight Arrow Connector 27">
            <a:extLst>
              <a:ext uri="{FF2B5EF4-FFF2-40B4-BE49-F238E27FC236}">
                <a16:creationId xmlns:a16="http://schemas.microsoft.com/office/drawing/2014/main" id="{56180A23-A740-4683-94DC-052BE1A5A3E8}"/>
              </a:ext>
            </a:extLst>
          </p:cNvPr>
          <p:cNvCxnSpPr>
            <a:cxnSpLocks/>
          </p:cNvCxnSpPr>
          <p:nvPr/>
        </p:nvCxnSpPr>
        <p:spPr>
          <a:xfrm flipV="1">
            <a:off x="1646525" y="2742868"/>
            <a:ext cx="1550485" cy="71"/>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7" name="Picture 6">
            <a:extLst>
              <a:ext uri="{FF2B5EF4-FFF2-40B4-BE49-F238E27FC236}">
                <a16:creationId xmlns:a16="http://schemas.microsoft.com/office/drawing/2014/main" id="{2337594F-24D0-445A-90E4-D8436E73B301}"/>
              </a:ext>
            </a:extLst>
          </p:cNvPr>
          <p:cNvPicPr>
            <a:picLocks noChangeAspect="1"/>
          </p:cNvPicPr>
          <p:nvPr/>
        </p:nvPicPr>
        <p:blipFill>
          <a:blip r:embed="rId3"/>
          <a:stretch>
            <a:fillRect/>
          </a:stretch>
        </p:blipFill>
        <p:spPr>
          <a:xfrm>
            <a:off x="5076092" y="548640"/>
            <a:ext cx="6713220" cy="5314950"/>
          </a:xfrm>
          <a:prstGeom prst="rect">
            <a:avLst/>
          </a:prstGeom>
        </p:spPr>
      </p:pic>
    </p:spTree>
    <p:extLst>
      <p:ext uri="{BB962C8B-B14F-4D97-AF65-F5344CB8AC3E}">
        <p14:creationId xmlns:p14="http://schemas.microsoft.com/office/powerpoint/2010/main" val="35782815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Emergency Workflow</a:t>
            </a:r>
          </a:p>
        </p:txBody>
      </p:sp>
      <p:sp>
        <p:nvSpPr>
          <p:cNvPr id="7" name="TextBox 4">
            <a:extLst>
              <a:ext uri="{FF2B5EF4-FFF2-40B4-BE49-F238E27FC236}">
                <a16:creationId xmlns:a16="http://schemas.microsoft.com/office/drawing/2014/main" id="{71E99223-A065-4690-B96C-81FE0EDF3AFD}"/>
              </a:ext>
            </a:extLst>
          </p:cNvPr>
          <p:cNvSpPr txBox="1"/>
          <p:nvPr/>
        </p:nvSpPr>
        <p:spPr>
          <a:xfrm rot="-600000">
            <a:off x="1522248" y="3438301"/>
            <a:ext cx="1419072"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nSpc>
                <a:spcPct val="90000"/>
              </a:lnSpc>
              <a:buNone/>
            </a:pPr>
            <a:r>
              <a:rPr lang="en-US" sz="1400" b="1">
                <a:latin typeface="Arial"/>
                <a:cs typeface="Arial"/>
              </a:rPr>
              <a:t>Minimizes exposure risk</a:t>
            </a:r>
            <a:endParaRPr lang="en-US">
              <a:latin typeface="Arial"/>
              <a:cs typeface="Arial"/>
            </a:endParaRPr>
          </a:p>
        </p:txBody>
      </p:sp>
      <p:sp>
        <p:nvSpPr>
          <p:cNvPr id="11" name="Rounded Rectangle 3">
            <a:extLst>
              <a:ext uri="{FF2B5EF4-FFF2-40B4-BE49-F238E27FC236}">
                <a16:creationId xmlns:a16="http://schemas.microsoft.com/office/drawing/2014/main" id="{2C7C828B-D372-4F5A-BC81-6EFB63B31F33}"/>
              </a:ext>
            </a:extLst>
          </p:cNvPr>
          <p:cNvSpPr/>
          <p:nvPr/>
        </p:nvSpPr>
        <p:spPr>
          <a:xfrm>
            <a:off x="161226" y="2466385"/>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Initiate and consent for </a:t>
            </a:r>
            <a:r>
              <a:rPr lang="en-US" sz="1050" err="1"/>
              <a:t>teledental</a:t>
            </a:r>
            <a:r>
              <a:rPr lang="en-US" sz="1050"/>
              <a:t> visit</a:t>
            </a:r>
            <a:endParaRPr lang="en-US"/>
          </a:p>
        </p:txBody>
      </p:sp>
      <p:sp>
        <p:nvSpPr>
          <p:cNvPr id="12" name="Rectangle 11">
            <a:extLst>
              <a:ext uri="{FF2B5EF4-FFF2-40B4-BE49-F238E27FC236}">
                <a16:creationId xmlns:a16="http://schemas.microsoft.com/office/drawing/2014/main" id="{13A21C6E-95D2-4A80-9D86-E72DE5DF1DCC}"/>
              </a:ext>
            </a:extLst>
          </p:cNvPr>
          <p:cNvSpPr/>
          <p:nvPr/>
        </p:nvSpPr>
        <p:spPr>
          <a:xfrm>
            <a:off x="3266168" y="2438250"/>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Review, update</a:t>
            </a:r>
            <a:br>
              <a:rPr lang="en-US" sz="1050"/>
            </a:br>
            <a:r>
              <a:rPr lang="en-US" sz="1050"/>
              <a:t>clinical records</a:t>
            </a:r>
            <a:endParaRPr lang="en-US"/>
          </a:p>
        </p:txBody>
      </p:sp>
      <p:sp>
        <p:nvSpPr>
          <p:cNvPr id="13" name="Rectangle 12">
            <a:extLst>
              <a:ext uri="{FF2B5EF4-FFF2-40B4-BE49-F238E27FC236}">
                <a16:creationId xmlns:a16="http://schemas.microsoft.com/office/drawing/2014/main" id="{529BB0ED-8A29-4667-9D53-D0708A4E42E8}"/>
              </a:ext>
            </a:extLst>
          </p:cNvPr>
          <p:cNvSpPr/>
          <p:nvPr/>
        </p:nvSpPr>
        <p:spPr>
          <a:xfrm>
            <a:off x="3266168" y="3120321"/>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llect today’s records: </a:t>
            </a:r>
            <a:br>
              <a:rPr lang="en-US" sz="1050"/>
            </a:br>
            <a:r>
              <a:rPr lang="en-US" sz="1050"/>
              <a:t>via interview, photos/video</a:t>
            </a:r>
            <a:endParaRPr lang="en-US"/>
          </a:p>
        </p:txBody>
      </p:sp>
      <p:sp>
        <p:nvSpPr>
          <p:cNvPr id="14" name="Rectangle 13">
            <a:extLst>
              <a:ext uri="{FF2B5EF4-FFF2-40B4-BE49-F238E27FC236}">
                <a16:creationId xmlns:a16="http://schemas.microsoft.com/office/drawing/2014/main" id="{2AF95A4B-97C5-4D50-B641-57B3552E9029}"/>
              </a:ext>
            </a:extLst>
          </p:cNvPr>
          <p:cNvSpPr/>
          <p:nvPr/>
        </p:nvSpPr>
        <p:spPr>
          <a:xfrm>
            <a:off x="3266168" y="3802392"/>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creen, assess</a:t>
            </a:r>
            <a:br>
              <a:rPr lang="en-US" sz="1050"/>
            </a:br>
            <a:r>
              <a:rPr lang="en-US" sz="1050"/>
              <a:t>or triage</a:t>
            </a:r>
            <a:endParaRPr lang="en-US"/>
          </a:p>
        </p:txBody>
      </p:sp>
      <p:cxnSp>
        <p:nvCxnSpPr>
          <p:cNvPr id="28" name="Straight Arrow Connector 27">
            <a:extLst>
              <a:ext uri="{FF2B5EF4-FFF2-40B4-BE49-F238E27FC236}">
                <a16:creationId xmlns:a16="http://schemas.microsoft.com/office/drawing/2014/main" id="{56180A23-A740-4683-94DC-052BE1A5A3E8}"/>
              </a:ext>
            </a:extLst>
          </p:cNvPr>
          <p:cNvCxnSpPr>
            <a:cxnSpLocks/>
          </p:cNvCxnSpPr>
          <p:nvPr/>
        </p:nvCxnSpPr>
        <p:spPr>
          <a:xfrm flipV="1">
            <a:off x="1646525" y="2742868"/>
            <a:ext cx="1550485" cy="71"/>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85367D22-2377-4D04-86C2-E9733D8D5859}"/>
              </a:ext>
            </a:extLst>
          </p:cNvPr>
          <p:cNvCxnSpPr/>
          <p:nvPr/>
        </p:nvCxnSpPr>
        <p:spPr>
          <a:xfrm>
            <a:off x="4112288" y="3672790"/>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8C4C2D64-1B78-4783-B8B3-3F0F7116EC01}"/>
              </a:ext>
            </a:extLst>
          </p:cNvPr>
          <p:cNvCxnSpPr/>
          <p:nvPr/>
        </p:nvCxnSpPr>
        <p:spPr>
          <a:xfrm>
            <a:off x="4112288" y="4348398"/>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6" name="Picture 15">
            <a:extLst>
              <a:ext uri="{FF2B5EF4-FFF2-40B4-BE49-F238E27FC236}">
                <a16:creationId xmlns:a16="http://schemas.microsoft.com/office/drawing/2014/main" id="{E957A91A-CE72-4505-BCC4-4F672F7206D4}"/>
              </a:ext>
            </a:extLst>
          </p:cNvPr>
          <p:cNvPicPr>
            <a:picLocks noChangeAspect="1"/>
          </p:cNvPicPr>
          <p:nvPr/>
        </p:nvPicPr>
        <p:blipFill>
          <a:blip r:embed="rId3"/>
          <a:stretch>
            <a:fillRect/>
          </a:stretch>
        </p:blipFill>
        <p:spPr>
          <a:xfrm>
            <a:off x="5076092" y="548640"/>
            <a:ext cx="6713220" cy="5314950"/>
          </a:xfrm>
          <a:prstGeom prst="rect">
            <a:avLst/>
          </a:prstGeom>
        </p:spPr>
      </p:pic>
    </p:spTree>
    <p:extLst>
      <p:ext uri="{BB962C8B-B14F-4D97-AF65-F5344CB8AC3E}">
        <p14:creationId xmlns:p14="http://schemas.microsoft.com/office/powerpoint/2010/main" val="184256724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Emergency Workflow</a:t>
            </a:r>
          </a:p>
        </p:txBody>
      </p:sp>
      <p:sp>
        <p:nvSpPr>
          <p:cNvPr id="7" name="TextBox 4">
            <a:extLst>
              <a:ext uri="{FF2B5EF4-FFF2-40B4-BE49-F238E27FC236}">
                <a16:creationId xmlns:a16="http://schemas.microsoft.com/office/drawing/2014/main" id="{71E99223-A065-4690-B96C-81FE0EDF3AFD}"/>
              </a:ext>
            </a:extLst>
          </p:cNvPr>
          <p:cNvSpPr txBox="1"/>
          <p:nvPr/>
        </p:nvSpPr>
        <p:spPr>
          <a:xfrm rot="-600000">
            <a:off x="1522248" y="3438301"/>
            <a:ext cx="1419072"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nSpc>
                <a:spcPct val="90000"/>
              </a:lnSpc>
              <a:buNone/>
            </a:pPr>
            <a:r>
              <a:rPr lang="en-US" sz="1400" b="1">
                <a:latin typeface="Arial"/>
                <a:cs typeface="Arial"/>
              </a:rPr>
              <a:t>Minimizes exposure risk</a:t>
            </a:r>
            <a:endParaRPr lang="en-US">
              <a:latin typeface="Arial"/>
              <a:cs typeface="Arial"/>
            </a:endParaRPr>
          </a:p>
        </p:txBody>
      </p:sp>
      <p:sp>
        <p:nvSpPr>
          <p:cNvPr id="11" name="Rounded Rectangle 3">
            <a:extLst>
              <a:ext uri="{FF2B5EF4-FFF2-40B4-BE49-F238E27FC236}">
                <a16:creationId xmlns:a16="http://schemas.microsoft.com/office/drawing/2014/main" id="{2C7C828B-D372-4F5A-BC81-6EFB63B31F33}"/>
              </a:ext>
            </a:extLst>
          </p:cNvPr>
          <p:cNvSpPr/>
          <p:nvPr/>
        </p:nvSpPr>
        <p:spPr>
          <a:xfrm>
            <a:off x="161226" y="2466385"/>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Initiate and consent for </a:t>
            </a:r>
            <a:r>
              <a:rPr lang="en-US" sz="1050" err="1"/>
              <a:t>teledental</a:t>
            </a:r>
            <a:r>
              <a:rPr lang="en-US" sz="1050"/>
              <a:t> visit</a:t>
            </a:r>
            <a:endParaRPr lang="en-US"/>
          </a:p>
        </p:txBody>
      </p:sp>
      <p:sp>
        <p:nvSpPr>
          <p:cNvPr id="12" name="Rectangle 11">
            <a:extLst>
              <a:ext uri="{FF2B5EF4-FFF2-40B4-BE49-F238E27FC236}">
                <a16:creationId xmlns:a16="http://schemas.microsoft.com/office/drawing/2014/main" id="{13A21C6E-95D2-4A80-9D86-E72DE5DF1DCC}"/>
              </a:ext>
            </a:extLst>
          </p:cNvPr>
          <p:cNvSpPr/>
          <p:nvPr/>
        </p:nvSpPr>
        <p:spPr>
          <a:xfrm>
            <a:off x="3266168" y="2438250"/>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Review, update</a:t>
            </a:r>
            <a:br>
              <a:rPr lang="en-US" sz="1050"/>
            </a:br>
            <a:r>
              <a:rPr lang="en-US" sz="1050"/>
              <a:t>clinical records</a:t>
            </a:r>
            <a:endParaRPr lang="en-US"/>
          </a:p>
        </p:txBody>
      </p:sp>
      <p:sp>
        <p:nvSpPr>
          <p:cNvPr id="13" name="Rectangle 12">
            <a:extLst>
              <a:ext uri="{FF2B5EF4-FFF2-40B4-BE49-F238E27FC236}">
                <a16:creationId xmlns:a16="http://schemas.microsoft.com/office/drawing/2014/main" id="{529BB0ED-8A29-4667-9D53-D0708A4E42E8}"/>
              </a:ext>
            </a:extLst>
          </p:cNvPr>
          <p:cNvSpPr/>
          <p:nvPr/>
        </p:nvSpPr>
        <p:spPr>
          <a:xfrm>
            <a:off x="3266168" y="3120321"/>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llect today’s records: </a:t>
            </a:r>
            <a:br>
              <a:rPr lang="en-US" sz="1050"/>
            </a:br>
            <a:r>
              <a:rPr lang="en-US" sz="1050"/>
              <a:t>via interview, photos/video</a:t>
            </a:r>
            <a:endParaRPr lang="en-US"/>
          </a:p>
        </p:txBody>
      </p:sp>
      <p:sp>
        <p:nvSpPr>
          <p:cNvPr id="14" name="Rectangle 13">
            <a:extLst>
              <a:ext uri="{FF2B5EF4-FFF2-40B4-BE49-F238E27FC236}">
                <a16:creationId xmlns:a16="http://schemas.microsoft.com/office/drawing/2014/main" id="{2AF95A4B-97C5-4D50-B641-57B3552E9029}"/>
              </a:ext>
            </a:extLst>
          </p:cNvPr>
          <p:cNvSpPr/>
          <p:nvPr/>
        </p:nvSpPr>
        <p:spPr>
          <a:xfrm>
            <a:off x="3266168" y="3802392"/>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creen, assess</a:t>
            </a:r>
            <a:br>
              <a:rPr lang="en-US" sz="1050"/>
            </a:br>
            <a:r>
              <a:rPr lang="en-US" sz="1050"/>
              <a:t>or triage</a:t>
            </a:r>
            <a:endParaRPr lang="en-US"/>
          </a:p>
        </p:txBody>
      </p:sp>
      <p:cxnSp>
        <p:nvCxnSpPr>
          <p:cNvPr id="28" name="Straight Arrow Connector 27">
            <a:extLst>
              <a:ext uri="{FF2B5EF4-FFF2-40B4-BE49-F238E27FC236}">
                <a16:creationId xmlns:a16="http://schemas.microsoft.com/office/drawing/2014/main" id="{56180A23-A740-4683-94DC-052BE1A5A3E8}"/>
              </a:ext>
            </a:extLst>
          </p:cNvPr>
          <p:cNvCxnSpPr>
            <a:cxnSpLocks/>
          </p:cNvCxnSpPr>
          <p:nvPr/>
        </p:nvCxnSpPr>
        <p:spPr>
          <a:xfrm flipV="1">
            <a:off x="1646525" y="2742868"/>
            <a:ext cx="1550485" cy="71"/>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85367D22-2377-4D04-86C2-E9733D8D5859}"/>
              </a:ext>
            </a:extLst>
          </p:cNvPr>
          <p:cNvCxnSpPr/>
          <p:nvPr/>
        </p:nvCxnSpPr>
        <p:spPr>
          <a:xfrm>
            <a:off x="4112288" y="3672790"/>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8C4C2D64-1B78-4783-B8B3-3F0F7116EC01}"/>
              </a:ext>
            </a:extLst>
          </p:cNvPr>
          <p:cNvCxnSpPr/>
          <p:nvPr/>
        </p:nvCxnSpPr>
        <p:spPr>
          <a:xfrm>
            <a:off x="4112288" y="4348398"/>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96372399-7C8E-43B6-AEB5-E56BB05DF80D}"/>
              </a:ext>
            </a:extLst>
          </p:cNvPr>
          <p:cNvPicPr>
            <a:picLocks noChangeAspect="1"/>
          </p:cNvPicPr>
          <p:nvPr/>
        </p:nvPicPr>
        <p:blipFill>
          <a:blip r:embed="rId3"/>
          <a:stretch>
            <a:fillRect/>
          </a:stretch>
        </p:blipFill>
        <p:spPr>
          <a:xfrm>
            <a:off x="5099538" y="548640"/>
            <a:ext cx="6713220" cy="5314950"/>
          </a:xfrm>
          <a:prstGeom prst="rect">
            <a:avLst/>
          </a:prstGeom>
        </p:spPr>
      </p:pic>
    </p:spTree>
    <p:extLst>
      <p:ext uri="{BB962C8B-B14F-4D97-AF65-F5344CB8AC3E}">
        <p14:creationId xmlns:p14="http://schemas.microsoft.com/office/powerpoint/2010/main" val="37621941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Emergency Workflow</a:t>
            </a:r>
          </a:p>
        </p:txBody>
      </p:sp>
      <p:sp>
        <p:nvSpPr>
          <p:cNvPr id="7" name="TextBox 4">
            <a:extLst>
              <a:ext uri="{FF2B5EF4-FFF2-40B4-BE49-F238E27FC236}">
                <a16:creationId xmlns:a16="http://schemas.microsoft.com/office/drawing/2014/main" id="{71E99223-A065-4690-B96C-81FE0EDF3AFD}"/>
              </a:ext>
            </a:extLst>
          </p:cNvPr>
          <p:cNvSpPr txBox="1"/>
          <p:nvPr/>
        </p:nvSpPr>
        <p:spPr>
          <a:xfrm rot="-600000">
            <a:off x="1522248" y="3438301"/>
            <a:ext cx="1419072"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nSpc>
                <a:spcPct val="90000"/>
              </a:lnSpc>
              <a:buNone/>
            </a:pPr>
            <a:r>
              <a:rPr lang="en-US" sz="1400" b="1">
                <a:latin typeface="Arial"/>
                <a:cs typeface="Arial"/>
              </a:rPr>
              <a:t>Minimizes exposure risk</a:t>
            </a:r>
            <a:endParaRPr lang="en-US">
              <a:latin typeface="Arial"/>
              <a:cs typeface="Arial"/>
            </a:endParaRPr>
          </a:p>
        </p:txBody>
      </p:sp>
      <p:sp>
        <p:nvSpPr>
          <p:cNvPr id="11" name="Rounded Rectangle 3">
            <a:extLst>
              <a:ext uri="{FF2B5EF4-FFF2-40B4-BE49-F238E27FC236}">
                <a16:creationId xmlns:a16="http://schemas.microsoft.com/office/drawing/2014/main" id="{2C7C828B-D372-4F5A-BC81-6EFB63B31F33}"/>
              </a:ext>
            </a:extLst>
          </p:cNvPr>
          <p:cNvSpPr/>
          <p:nvPr/>
        </p:nvSpPr>
        <p:spPr>
          <a:xfrm>
            <a:off x="161226" y="2466385"/>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Initiate and consent for </a:t>
            </a:r>
            <a:r>
              <a:rPr lang="en-US" sz="1050" err="1"/>
              <a:t>teledental</a:t>
            </a:r>
            <a:r>
              <a:rPr lang="en-US" sz="1050"/>
              <a:t> visit</a:t>
            </a:r>
            <a:endParaRPr lang="en-US"/>
          </a:p>
        </p:txBody>
      </p:sp>
      <p:sp>
        <p:nvSpPr>
          <p:cNvPr id="12" name="Rectangle 11">
            <a:extLst>
              <a:ext uri="{FF2B5EF4-FFF2-40B4-BE49-F238E27FC236}">
                <a16:creationId xmlns:a16="http://schemas.microsoft.com/office/drawing/2014/main" id="{13A21C6E-95D2-4A80-9D86-E72DE5DF1DCC}"/>
              </a:ext>
            </a:extLst>
          </p:cNvPr>
          <p:cNvSpPr/>
          <p:nvPr/>
        </p:nvSpPr>
        <p:spPr>
          <a:xfrm>
            <a:off x="3266168" y="2438250"/>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Review, update</a:t>
            </a:r>
            <a:br>
              <a:rPr lang="en-US" sz="1050"/>
            </a:br>
            <a:r>
              <a:rPr lang="en-US" sz="1050"/>
              <a:t>clinical records</a:t>
            </a:r>
            <a:endParaRPr lang="en-US"/>
          </a:p>
        </p:txBody>
      </p:sp>
      <p:sp>
        <p:nvSpPr>
          <p:cNvPr id="13" name="Rectangle 12">
            <a:extLst>
              <a:ext uri="{FF2B5EF4-FFF2-40B4-BE49-F238E27FC236}">
                <a16:creationId xmlns:a16="http://schemas.microsoft.com/office/drawing/2014/main" id="{529BB0ED-8A29-4667-9D53-D0708A4E42E8}"/>
              </a:ext>
            </a:extLst>
          </p:cNvPr>
          <p:cNvSpPr/>
          <p:nvPr/>
        </p:nvSpPr>
        <p:spPr>
          <a:xfrm>
            <a:off x="3266168" y="3120321"/>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llect today’s records: </a:t>
            </a:r>
            <a:br>
              <a:rPr lang="en-US" sz="1050"/>
            </a:br>
            <a:r>
              <a:rPr lang="en-US" sz="1050"/>
              <a:t>via interview, photos/video</a:t>
            </a:r>
            <a:endParaRPr lang="en-US"/>
          </a:p>
        </p:txBody>
      </p:sp>
      <p:sp>
        <p:nvSpPr>
          <p:cNvPr id="14" name="Rectangle 13">
            <a:extLst>
              <a:ext uri="{FF2B5EF4-FFF2-40B4-BE49-F238E27FC236}">
                <a16:creationId xmlns:a16="http://schemas.microsoft.com/office/drawing/2014/main" id="{2AF95A4B-97C5-4D50-B641-57B3552E9029}"/>
              </a:ext>
            </a:extLst>
          </p:cNvPr>
          <p:cNvSpPr/>
          <p:nvPr/>
        </p:nvSpPr>
        <p:spPr>
          <a:xfrm>
            <a:off x="3266168" y="3802392"/>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creen, assess</a:t>
            </a:r>
            <a:br>
              <a:rPr lang="en-US" sz="1050"/>
            </a:br>
            <a:r>
              <a:rPr lang="en-US" sz="1050"/>
              <a:t>or triage</a:t>
            </a:r>
            <a:endParaRPr lang="en-US"/>
          </a:p>
        </p:txBody>
      </p:sp>
      <p:sp>
        <p:nvSpPr>
          <p:cNvPr id="22" name="Diamond 21">
            <a:extLst>
              <a:ext uri="{FF2B5EF4-FFF2-40B4-BE49-F238E27FC236}">
                <a16:creationId xmlns:a16="http://schemas.microsoft.com/office/drawing/2014/main" id="{88657DEF-EF0A-483D-AA86-1E659508783A}"/>
              </a:ext>
            </a:extLst>
          </p:cNvPr>
          <p:cNvSpPr/>
          <p:nvPr/>
        </p:nvSpPr>
        <p:spPr>
          <a:xfrm>
            <a:off x="3114609" y="4453834"/>
            <a:ext cx="2006791" cy="814974"/>
          </a:xfrm>
          <a:prstGeom prst="diamond">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a:t>
            </a:r>
            <a:br>
              <a:rPr lang="en-US" sz="1050"/>
            </a:br>
            <a:r>
              <a:rPr lang="en-US" sz="1050"/>
              <a:t>if in-person visit </a:t>
            </a:r>
            <a:br>
              <a:rPr lang="en-US" sz="1050"/>
            </a:br>
            <a:r>
              <a:rPr lang="en-US" sz="1050"/>
              <a:t>is needed</a:t>
            </a:r>
            <a:endParaRPr lang="en-US"/>
          </a:p>
        </p:txBody>
      </p:sp>
      <p:cxnSp>
        <p:nvCxnSpPr>
          <p:cNvPr id="28" name="Straight Arrow Connector 27">
            <a:extLst>
              <a:ext uri="{FF2B5EF4-FFF2-40B4-BE49-F238E27FC236}">
                <a16:creationId xmlns:a16="http://schemas.microsoft.com/office/drawing/2014/main" id="{56180A23-A740-4683-94DC-052BE1A5A3E8}"/>
              </a:ext>
            </a:extLst>
          </p:cNvPr>
          <p:cNvCxnSpPr>
            <a:cxnSpLocks/>
          </p:cNvCxnSpPr>
          <p:nvPr/>
        </p:nvCxnSpPr>
        <p:spPr>
          <a:xfrm flipV="1">
            <a:off x="1646525" y="2742868"/>
            <a:ext cx="1550485" cy="71"/>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85367D22-2377-4D04-86C2-E9733D8D5859}"/>
              </a:ext>
            </a:extLst>
          </p:cNvPr>
          <p:cNvCxnSpPr/>
          <p:nvPr/>
        </p:nvCxnSpPr>
        <p:spPr>
          <a:xfrm>
            <a:off x="4112288" y="3672790"/>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8C4C2D64-1B78-4783-B8B3-3F0F7116EC01}"/>
              </a:ext>
            </a:extLst>
          </p:cNvPr>
          <p:cNvCxnSpPr/>
          <p:nvPr/>
        </p:nvCxnSpPr>
        <p:spPr>
          <a:xfrm>
            <a:off x="4112288" y="4348398"/>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pic>
        <p:nvPicPr>
          <p:cNvPr id="15" name="Picture 14">
            <a:extLst>
              <a:ext uri="{FF2B5EF4-FFF2-40B4-BE49-F238E27FC236}">
                <a16:creationId xmlns:a16="http://schemas.microsoft.com/office/drawing/2014/main" id="{8EB8AADC-EE78-405D-A71B-4B304201D58B}"/>
              </a:ext>
            </a:extLst>
          </p:cNvPr>
          <p:cNvPicPr>
            <a:picLocks noChangeAspect="1"/>
          </p:cNvPicPr>
          <p:nvPr/>
        </p:nvPicPr>
        <p:blipFill>
          <a:blip r:embed="rId3"/>
          <a:stretch>
            <a:fillRect/>
          </a:stretch>
        </p:blipFill>
        <p:spPr>
          <a:xfrm>
            <a:off x="5076092" y="548640"/>
            <a:ext cx="6713220" cy="5314950"/>
          </a:xfrm>
          <a:prstGeom prst="rect">
            <a:avLst/>
          </a:prstGeom>
        </p:spPr>
      </p:pic>
    </p:spTree>
    <p:extLst>
      <p:ext uri="{BB962C8B-B14F-4D97-AF65-F5344CB8AC3E}">
        <p14:creationId xmlns:p14="http://schemas.microsoft.com/office/powerpoint/2010/main" val="136790977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94700C9B-B268-421A-8EA5-F55B10CCE28A}"/>
              </a:ext>
            </a:extLst>
          </p:cNvPr>
          <p:cNvCxnSpPr>
            <a:cxnSpLocks/>
          </p:cNvCxnSpPr>
          <p:nvPr/>
        </p:nvCxnSpPr>
        <p:spPr>
          <a:xfrm>
            <a:off x="6498931" y="4030333"/>
            <a:ext cx="0" cy="61611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 name="Straight Arrow Connector 4">
            <a:extLst>
              <a:ext uri="{FF2B5EF4-FFF2-40B4-BE49-F238E27FC236}">
                <a16:creationId xmlns:a16="http://schemas.microsoft.com/office/drawing/2014/main" id="{9F4187C4-1805-436B-9896-6E16904095CC}"/>
              </a:ext>
            </a:extLst>
          </p:cNvPr>
          <p:cNvCxnSpPr>
            <a:cxnSpLocks/>
          </p:cNvCxnSpPr>
          <p:nvPr/>
        </p:nvCxnSpPr>
        <p:spPr>
          <a:xfrm>
            <a:off x="7343783" y="3854751"/>
            <a:ext cx="2518184" cy="0"/>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A Prevention Capable Workflow</a:t>
            </a:r>
          </a:p>
        </p:txBody>
      </p:sp>
      <p:sp>
        <p:nvSpPr>
          <p:cNvPr id="7" name="TextBox 4">
            <a:extLst>
              <a:ext uri="{FF2B5EF4-FFF2-40B4-BE49-F238E27FC236}">
                <a16:creationId xmlns:a16="http://schemas.microsoft.com/office/drawing/2014/main" id="{71E99223-A065-4690-B96C-81FE0EDF3AFD}"/>
              </a:ext>
            </a:extLst>
          </p:cNvPr>
          <p:cNvSpPr txBox="1"/>
          <p:nvPr/>
        </p:nvSpPr>
        <p:spPr>
          <a:xfrm>
            <a:off x="7508042" y="2121276"/>
            <a:ext cx="1692241"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nSpc>
                <a:spcPct val="90000"/>
              </a:lnSpc>
              <a:buNone/>
            </a:pPr>
            <a:r>
              <a:rPr lang="en-US" sz="1400" b="1">
                <a:latin typeface="Arial"/>
                <a:cs typeface="Arial"/>
              </a:rPr>
              <a:t>Minimizes exposure risk</a:t>
            </a:r>
            <a:endParaRPr lang="en-US">
              <a:latin typeface="Arial"/>
              <a:cs typeface="Arial"/>
            </a:endParaRPr>
          </a:p>
        </p:txBody>
      </p:sp>
      <p:sp>
        <p:nvSpPr>
          <p:cNvPr id="11" name="Rounded Rectangle 3">
            <a:extLst>
              <a:ext uri="{FF2B5EF4-FFF2-40B4-BE49-F238E27FC236}">
                <a16:creationId xmlns:a16="http://schemas.microsoft.com/office/drawing/2014/main" id="{2C7C828B-D372-4F5A-BC81-6EFB63B31F33}"/>
              </a:ext>
            </a:extLst>
          </p:cNvPr>
          <p:cNvSpPr/>
          <p:nvPr/>
        </p:nvSpPr>
        <p:spPr>
          <a:xfrm>
            <a:off x="2547868" y="1459970"/>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Initiate and consent for </a:t>
            </a:r>
            <a:r>
              <a:rPr lang="en-US" sz="1050" err="1"/>
              <a:t>teledental</a:t>
            </a:r>
            <a:r>
              <a:rPr lang="en-US" sz="1050"/>
              <a:t> visit</a:t>
            </a:r>
            <a:endParaRPr lang="en-US"/>
          </a:p>
        </p:txBody>
      </p:sp>
      <p:sp>
        <p:nvSpPr>
          <p:cNvPr id="12" name="Rectangle 11">
            <a:extLst>
              <a:ext uri="{FF2B5EF4-FFF2-40B4-BE49-F238E27FC236}">
                <a16:creationId xmlns:a16="http://schemas.microsoft.com/office/drawing/2014/main" id="{13A21C6E-95D2-4A80-9D86-E72DE5DF1DCC}"/>
              </a:ext>
            </a:extLst>
          </p:cNvPr>
          <p:cNvSpPr/>
          <p:nvPr/>
        </p:nvSpPr>
        <p:spPr>
          <a:xfrm>
            <a:off x="5652810" y="1431835"/>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Review, update</a:t>
            </a:r>
            <a:br>
              <a:rPr lang="en-US" sz="1050"/>
            </a:br>
            <a:r>
              <a:rPr lang="en-US" sz="1050"/>
              <a:t>clinical records</a:t>
            </a:r>
            <a:endParaRPr lang="en-US"/>
          </a:p>
        </p:txBody>
      </p:sp>
      <p:sp>
        <p:nvSpPr>
          <p:cNvPr id="13" name="Rectangle 12">
            <a:extLst>
              <a:ext uri="{FF2B5EF4-FFF2-40B4-BE49-F238E27FC236}">
                <a16:creationId xmlns:a16="http://schemas.microsoft.com/office/drawing/2014/main" id="{529BB0ED-8A29-4667-9D53-D0708A4E42E8}"/>
              </a:ext>
            </a:extLst>
          </p:cNvPr>
          <p:cNvSpPr/>
          <p:nvPr/>
        </p:nvSpPr>
        <p:spPr>
          <a:xfrm>
            <a:off x="5652810" y="2113905"/>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llect today’s records: </a:t>
            </a:r>
            <a:br>
              <a:rPr lang="en-US" sz="1050"/>
            </a:br>
            <a:r>
              <a:rPr lang="en-US" sz="1050"/>
              <a:t>via interview, photos/video</a:t>
            </a:r>
            <a:endParaRPr lang="en-US"/>
          </a:p>
        </p:txBody>
      </p:sp>
      <p:sp>
        <p:nvSpPr>
          <p:cNvPr id="14" name="Rectangle 13">
            <a:extLst>
              <a:ext uri="{FF2B5EF4-FFF2-40B4-BE49-F238E27FC236}">
                <a16:creationId xmlns:a16="http://schemas.microsoft.com/office/drawing/2014/main" id="{2AF95A4B-97C5-4D50-B641-57B3552E9029}"/>
              </a:ext>
            </a:extLst>
          </p:cNvPr>
          <p:cNvSpPr/>
          <p:nvPr/>
        </p:nvSpPr>
        <p:spPr>
          <a:xfrm>
            <a:off x="5652810" y="2795977"/>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creen, assess</a:t>
            </a:r>
            <a:br>
              <a:rPr lang="en-US" sz="1050"/>
            </a:br>
            <a:r>
              <a:rPr lang="en-US" sz="1050"/>
              <a:t>or triage</a:t>
            </a:r>
            <a:endParaRPr lang="en-US"/>
          </a:p>
        </p:txBody>
      </p:sp>
      <p:sp>
        <p:nvSpPr>
          <p:cNvPr id="15" name="Rectangle 14">
            <a:extLst>
              <a:ext uri="{FF2B5EF4-FFF2-40B4-BE49-F238E27FC236}">
                <a16:creationId xmlns:a16="http://schemas.microsoft.com/office/drawing/2014/main" id="{B81AB37F-CD90-435B-AC65-48CAA510420E}"/>
              </a:ext>
            </a:extLst>
          </p:cNvPr>
          <p:cNvSpPr/>
          <p:nvPr/>
        </p:nvSpPr>
        <p:spPr>
          <a:xfrm>
            <a:off x="10236524" y="1328842"/>
            <a:ext cx="1639281" cy="4822655"/>
          </a:xfrm>
          <a:prstGeom prst="rect">
            <a:avLst/>
          </a:prstGeom>
          <a:noFill/>
          <a:ln w="41275">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91440" tIns="182880" rIns="91440"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solidFill>
                  <a:schemeClr val="tx1"/>
                </a:solidFill>
              </a:rPr>
              <a:t>Varies based on diagnosis and patient preferences</a:t>
            </a:r>
            <a:endParaRPr lang="en-US">
              <a:solidFill>
                <a:schemeClr val="tx1"/>
              </a:solidFill>
            </a:endParaRPr>
          </a:p>
        </p:txBody>
      </p:sp>
      <p:sp>
        <p:nvSpPr>
          <p:cNvPr id="16" name="Rectangle 15">
            <a:extLst>
              <a:ext uri="{FF2B5EF4-FFF2-40B4-BE49-F238E27FC236}">
                <a16:creationId xmlns:a16="http://schemas.microsoft.com/office/drawing/2014/main" id="{AE124BA3-5DC2-42B8-8E54-9A3D5E9226D3}"/>
              </a:ext>
            </a:extLst>
          </p:cNvPr>
          <p:cNvSpPr/>
          <p:nvPr/>
        </p:nvSpPr>
        <p:spPr>
          <a:xfrm>
            <a:off x="9991513" y="2099474"/>
            <a:ext cx="148530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aries Risk Assessment</a:t>
            </a:r>
            <a:endParaRPr lang="en-US"/>
          </a:p>
        </p:txBody>
      </p:sp>
      <p:sp>
        <p:nvSpPr>
          <p:cNvPr id="17" name="Rectangle 16">
            <a:extLst>
              <a:ext uri="{FF2B5EF4-FFF2-40B4-BE49-F238E27FC236}">
                <a16:creationId xmlns:a16="http://schemas.microsoft.com/office/drawing/2014/main" id="{CB440631-8E64-4922-AD70-BEACA287AD22}"/>
              </a:ext>
            </a:extLst>
          </p:cNvPr>
          <p:cNvSpPr/>
          <p:nvPr/>
        </p:nvSpPr>
        <p:spPr>
          <a:xfrm>
            <a:off x="9991513" y="2781546"/>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OTC or Rx Medication</a:t>
            </a:r>
            <a:endParaRPr lang="en-US"/>
          </a:p>
        </p:txBody>
      </p:sp>
      <p:sp>
        <p:nvSpPr>
          <p:cNvPr id="18" name="Rectangle 17">
            <a:extLst>
              <a:ext uri="{FF2B5EF4-FFF2-40B4-BE49-F238E27FC236}">
                <a16:creationId xmlns:a16="http://schemas.microsoft.com/office/drawing/2014/main" id="{D8759982-1589-48F6-A692-D9EFEF426CEE}"/>
              </a:ext>
            </a:extLst>
          </p:cNvPr>
          <p:cNvSpPr/>
          <p:nvPr/>
        </p:nvSpPr>
        <p:spPr>
          <a:xfrm>
            <a:off x="9991513" y="3463617"/>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Management Goals</a:t>
            </a:r>
            <a:endParaRPr lang="en-US"/>
          </a:p>
        </p:txBody>
      </p:sp>
      <p:sp>
        <p:nvSpPr>
          <p:cNvPr id="19" name="Rectangle 18">
            <a:extLst>
              <a:ext uri="{FF2B5EF4-FFF2-40B4-BE49-F238E27FC236}">
                <a16:creationId xmlns:a16="http://schemas.microsoft.com/office/drawing/2014/main" id="{859126D6-0595-4EA3-8EDF-B5DF5131C230}"/>
              </a:ext>
            </a:extLst>
          </p:cNvPr>
          <p:cNvSpPr/>
          <p:nvPr/>
        </p:nvSpPr>
        <p:spPr>
          <a:xfrm>
            <a:off x="9991513" y="4173822"/>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Patient Education</a:t>
            </a:r>
            <a:endParaRPr lang="en-US"/>
          </a:p>
        </p:txBody>
      </p:sp>
      <p:sp>
        <p:nvSpPr>
          <p:cNvPr id="20" name="Rectangle 19">
            <a:extLst>
              <a:ext uri="{FF2B5EF4-FFF2-40B4-BE49-F238E27FC236}">
                <a16:creationId xmlns:a16="http://schemas.microsoft.com/office/drawing/2014/main" id="{0A1306C2-B677-45F9-BE43-1015919CB2D9}"/>
              </a:ext>
            </a:extLst>
          </p:cNvPr>
          <p:cNvSpPr/>
          <p:nvPr/>
        </p:nvSpPr>
        <p:spPr>
          <a:xfrm>
            <a:off x="9991513" y="4855892"/>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Care Tips</a:t>
            </a:r>
            <a:endParaRPr lang="en-US"/>
          </a:p>
        </p:txBody>
      </p:sp>
      <p:sp>
        <p:nvSpPr>
          <p:cNvPr id="21" name="Rectangle 20">
            <a:extLst>
              <a:ext uri="{FF2B5EF4-FFF2-40B4-BE49-F238E27FC236}">
                <a16:creationId xmlns:a16="http://schemas.microsoft.com/office/drawing/2014/main" id="{9E9652D0-7EEA-4AD1-9ECF-482E6117E578}"/>
              </a:ext>
            </a:extLst>
          </p:cNvPr>
          <p:cNvSpPr/>
          <p:nvPr/>
        </p:nvSpPr>
        <p:spPr>
          <a:xfrm>
            <a:off x="9991513" y="5537965"/>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VID-19 Care Plan</a:t>
            </a:r>
            <a:endParaRPr lang="en-US"/>
          </a:p>
        </p:txBody>
      </p:sp>
      <p:sp>
        <p:nvSpPr>
          <p:cNvPr id="22" name="Diamond 21">
            <a:extLst>
              <a:ext uri="{FF2B5EF4-FFF2-40B4-BE49-F238E27FC236}">
                <a16:creationId xmlns:a16="http://schemas.microsoft.com/office/drawing/2014/main" id="{88657DEF-EF0A-483D-AA86-1E659508783A}"/>
              </a:ext>
            </a:extLst>
          </p:cNvPr>
          <p:cNvSpPr/>
          <p:nvPr/>
        </p:nvSpPr>
        <p:spPr>
          <a:xfrm>
            <a:off x="5501251" y="3447419"/>
            <a:ext cx="2006791" cy="814974"/>
          </a:xfrm>
          <a:prstGeom prst="diamond">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a:t>
            </a:r>
            <a:br>
              <a:rPr lang="en-US" sz="1050"/>
            </a:br>
            <a:r>
              <a:rPr lang="en-US" sz="1050"/>
              <a:t>if in-person visit </a:t>
            </a:r>
            <a:br>
              <a:rPr lang="en-US" sz="1050"/>
            </a:br>
            <a:r>
              <a:rPr lang="en-US" sz="1050"/>
              <a:t>is needed</a:t>
            </a:r>
            <a:endParaRPr lang="en-US"/>
          </a:p>
        </p:txBody>
      </p:sp>
      <p:sp>
        <p:nvSpPr>
          <p:cNvPr id="23" name="Rectangle 22">
            <a:extLst>
              <a:ext uri="{FF2B5EF4-FFF2-40B4-BE49-F238E27FC236}">
                <a16:creationId xmlns:a16="http://schemas.microsoft.com/office/drawing/2014/main" id="{3AA68C7C-263A-4AA8-A7D7-3A23CBE13803}"/>
              </a:ext>
            </a:extLst>
          </p:cNvPr>
          <p:cNvSpPr/>
          <p:nvPr/>
        </p:nvSpPr>
        <p:spPr>
          <a:xfrm>
            <a:off x="5652810" y="4654291"/>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visit type </a:t>
            </a:r>
            <a:br>
              <a:rPr lang="en-US" sz="1050"/>
            </a:br>
            <a:r>
              <a:rPr lang="en-US" sz="1050"/>
              <a:t>and location</a:t>
            </a:r>
            <a:endParaRPr lang="en-US"/>
          </a:p>
        </p:txBody>
      </p:sp>
      <p:cxnSp>
        <p:nvCxnSpPr>
          <p:cNvPr id="28" name="Straight Arrow Connector 27">
            <a:extLst>
              <a:ext uri="{FF2B5EF4-FFF2-40B4-BE49-F238E27FC236}">
                <a16:creationId xmlns:a16="http://schemas.microsoft.com/office/drawing/2014/main" id="{56180A23-A740-4683-94DC-052BE1A5A3E8}"/>
              </a:ext>
            </a:extLst>
          </p:cNvPr>
          <p:cNvCxnSpPr>
            <a:cxnSpLocks/>
          </p:cNvCxnSpPr>
          <p:nvPr/>
        </p:nvCxnSpPr>
        <p:spPr>
          <a:xfrm flipV="1">
            <a:off x="4033167" y="1736453"/>
            <a:ext cx="1550485" cy="71"/>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85367D22-2377-4D04-86C2-E9733D8D5859}"/>
              </a:ext>
            </a:extLst>
          </p:cNvPr>
          <p:cNvCxnSpPr/>
          <p:nvPr/>
        </p:nvCxnSpPr>
        <p:spPr>
          <a:xfrm>
            <a:off x="6498930" y="2666374"/>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8C4C2D64-1B78-4783-B8B3-3F0F7116EC01}"/>
              </a:ext>
            </a:extLst>
          </p:cNvPr>
          <p:cNvCxnSpPr/>
          <p:nvPr/>
        </p:nvCxnSpPr>
        <p:spPr>
          <a:xfrm>
            <a:off x="6498930" y="3341982"/>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7" name="TextBox 34">
            <a:extLst>
              <a:ext uri="{FF2B5EF4-FFF2-40B4-BE49-F238E27FC236}">
                <a16:creationId xmlns:a16="http://schemas.microsoft.com/office/drawing/2014/main" id="{F768AE1C-655A-4E0B-B785-0E366502CAD6}"/>
              </a:ext>
            </a:extLst>
          </p:cNvPr>
          <p:cNvSpPr txBox="1"/>
          <p:nvPr/>
        </p:nvSpPr>
        <p:spPr>
          <a:xfrm>
            <a:off x="6568220" y="4287304"/>
            <a:ext cx="553357" cy="276999"/>
          </a:xfrm>
          <a:prstGeom prst="rect">
            <a:avLst/>
          </a:prstGeom>
          <a:noFill/>
        </p:spPr>
        <p:txBody>
          <a:bodyPr wrap="non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If yes</a:t>
            </a:r>
            <a:endParaRPr lang="en-US"/>
          </a:p>
        </p:txBody>
      </p:sp>
      <p:sp>
        <p:nvSpPr>
          <p:cNvPr id="38" name="TextBox 35">
            <a:extLst>
              <a:ext uri="{FF2B5EF4-FFF2-40B4-BE49-F238E27FC236}">
                <a16:creationId xmlns:a16="http://schemas.microsoft.com/office/drawing/2014/main" id="{7102E250-F4B0-4EFD-8534-65B587720285}"/>
              </a:ext>
            </a:extLst>
          </p:cNvPr>
          <p:cNvSpPr txBox="1"/>
          <p:nvPr/>
        </p:nvSpPr>
        <p:spPr>
          <a:xfrm>
            <a:off x="8140451" y="3701820"/>
            <a:ext cx="380232" cy="276999"/>
          </a:xfrm>
          <a:prstGeom prst="rect">
            <a:avLst/>
          </a:prstGeom>
          <a:solidFill>
            <a:schemeClr val="bg1"/>
          </a:solidFill>
        </p:spPr>
        <p:txBody>
          <a:bodyPr wrap="non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No</a:t>
            </a:r>
            <a:endParaRPr lang="en-US"/>
          </a:p>
        </p:txBody>
      </p:sp>
      <p:cxnSp>
        <p:nvCxnSpPr>
          <p:cNvPr id="40" name="Elbow Connector 67">
            <a:extLst>
              <a:ext uri="{FF2B5EF4-FFF2-40B4-BE49-F238E27FC236}">
                <a16:creationId xmlns:a16="http://schemas.microsoft.com/office/drawing/2014/main" id="{A339A679-1AC3-4F79-881B-DC648B114A2C}"/>
              </a:ext>
            </a:extLst>
          </p:cNvPr>
          <p:cNvCxnSpPr>
            <a:cxnSpLocks/>
          </p:cNvCxnSpPr>
          <p:nvPr/>
        </p:nvCxnSpPr>
        <p:spPr>
          <a:xfrm flipV="1">
            <a:off x="7345050" y="3944710"/>
            <a:ext cx="2226268" cy="986135"/>
          </a:xfrm>
          <a:prstGeom prst="bentConnector3">
            <a:avLst>
              <a:gd name="adj1" fmla="val 100070"/>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TextBox 38">
            <a:extLst>
              <a:ext uri="{FF2B5EF4-FFF2-40B4-BE49-F238E27FC236}">
                <a16:creationId xmlns:a16="http://schemas.microsoft.com/office/drawing/2014/main" id="{DA5341D6-FF38-4920-A003-A4160D9962BE}"/>
              </a:ext>
            </a:extLst>
          </p:cNvPr>
          <p:cNvSpPr txBox="1"/>
          <p:nvPr/>
        </p:nvSpPr>
        <p:spPr>
          <a:xfrm>
            <a:off x="7443096" y="4635041"/>
            <a:ext cx="2415769"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Care plan until in-office visit</a:t>
            </a:r>
            <a:endParaRPr lang="en-US"/>
          </a:p>
        </p:txBody>
      </p:sp>
      <p:sp>
        <p:nvSpPr>
          <p:cNvPr id="2" name="Explosion: 8 Points 1">
            <a:extLst>
              <a:ext uri="{FF2B5EF4-FFF2-40B4-BE49-F238E27FC236}">
                <a16:creationId xmlns:a16="http://schemas.microsoft.com/office/drawing/2014/main" id="{4258E63E-FD47-4B2C-86E8-E8EB717E50D0}"/>
              </a:ext>
            </a:extLst>
          </p:cNvPr>
          <p:cNvSpPr/>
          <p:nvPr/>
        </p:nvSpPr>
        <p:spPr>
          <a:xfrm rot="1740000">
            <a:off x="10380683" y="293455"/>
            <a:ext cx="1877683" cy="1144436"/>
          </a:xfrm>
          <a:prstGeom prst="irregularSeal1">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indent="0" algn="ctr">
              <a:buNone/>
            </a:pPr>
            <a:r>
              <a:rPr lang="en-US" sz="1400">
                <a:solidFill>
                  <a:schemeClr val="tx1"/>
                </a:solidFill>
                <a:cs typeface="Arial" panose="020B0604020202020204"/>
              </a:rPr>
              <a:t>Prevention</a:t>
            </a:r>
          </a:p>
        </p:txBody>
      </p:sp>
      <p:pic>
        <p:nvPicPr>
          <p:cNvPr id="29" name="Picture 28">
            <a:extLst>
              <a:ext uri="{FF2B5EF4-FFF2-40B4-BE49-F238E27FC236}">
                <a16:creationId xmlns:a16="http://schemas.microsoft.com/office/drawing/2014/main" id="{43025738-0BAF-4C27-9ADA-33520293595A}"/>
              </a:ext>
            </a:extLst>
          </p:cNvPr>
          <p:cNvPicPr>
            <a:picLocks noChangeAspect="1"/>
          </p:cNvPicPr>
          <p:nvPr/>
        </p:nvPicPr>
        <p:blipFill rotWithShape="1">
          <a:blip r:embed="rId3"/>
          <a:srcRect l="21426" t="32258" r="-1288" b="457"/>
          <a:stretch/>
        </p:blipFill>
        <p:spPr>
          <a:xfrm>
            <a:off x="148802" y="3071521"/>
            <a:ext cx="5361329" cy="3576216"/>
          </a:xfrm>
          <a:prstGeom prst="rect">
            <a:avLst/>
          </a:prstGeom>
        </p:spPr>
      </p:pic>
    </p:spTree>
    <p:extLst>
      <p:ext uri="{BB962C8B-B14F-4D97-AF65-F5344CB8AC3E}">
        <p14:creationId xmlns:p14="http://schemas.microsoft.com/office/powerpoint/2010/main" val="154955483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075A1-46F6-49D2-B4F2-2259C6296EA0}"/>
              </a:ext>
            </a:extLst>
          </p:cNvPr>
          <p:cNvSpPr>
            <a:spLocks noGrp="1"/>
          </p:cNvSpPr>
          <p:nvPr>
            <p:ph type="title"/>
          </p:nvPr>
        </p:nvSpPr>
        <p:spPr/>
        <p:txBody>
          <a:bodyPr/>
          <a:lstStyle/>
          <a:p>
            <a:r>
              <a:rPr lang="en-US">
                <a:ea typeface="+mj-lt"/>
                <a:cs typeface="+mj-lt"/>
              </a:rPr>
              <a:t>Tele-Prevention </a:t>
            </a:r>
            <a:endParaRPr lang="en-US" b="0">
              <a:ea typeface="+mj-lt"/>
              <a:cs typeface="+mj-lt"/>
            </a:endParaRPr>
          </a:p>
          <a:p>
            <a:endParaRPr lang="en-US">
              <a:latin typeface="Impact"/>
            </a:endParaRPr>
          </a:p>
        </p:txBody>
      </p:sp>
      <p:pic>
        <p:nvPicPr>
          <p:cNvPr id="5" name="Picture 5" descr="A picture containing text&#10;&#10;Description automatically generated">
            <a:extLst>
              <a:ext uri="{FF2B5EF4-FFF2-40B4-BE49-F238E27FC236}">
                <a16:creationId xmlns:a16="http://schemas.microsoft.com/office/drawing/2014/main" id="{2FE323A5-73CD-4EB5-A611-8223B12FC0D8}"/>
              </a:ext>
            </a:extLst>
          </p:cNvPr>
          <p:cNvPicPr>
            <a:picLocks noChangeAspect="1"/>
          </p:cNvPicPr>
          <p:nvPr/>
        </p:nvPicPr>
        <p:blipFill>
          <a:blip r:embed="rId3"/>
          <a:stretch>
            <a:fillRect/>
          </a:stretch>
        </p:blipFill>
        <p:spPr>
          <a:xfrm>
            <a:off x="4120551" y="902001"/>
            <a:ext cx="4281577" cy="5068374"/>
          </a:xfrm>
          <a:prstGeom prst="roundRect">
            <a:avLst>
              <a:gd name="adj" fmla="val 16667"/>
            </a:avLst>
          </a:prstGeom>
          <a:ln>
            <a:no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6" name="Rectangle 5">
            <a:extLst>
              <a:ext uri="{FF2B5EF4-FFF2-40B4-BE49-F238E27FC236}">
                <a16:creationId xmlns:a16="http://schemas.microsoft.com/office/drawing/2014/main" id="{334D3220-5F86-4FD8-AC38-478D48D3C988}"/>
              </a:ext>
            </a:extLst>
          </p:cNvPr>
          <p:cNvSpPr/>
          <p:nvPr/>
        </p:nvSpPr>
        <p:spPr>
          <a:xfrm>
            <a:off x="71887" y="6257148"/>
            <a:ext cx="8546269" cy="1200329"/>
          </a:xfrm>
          <a:prstGeom prst="rect">
            <a:avLst/>
          </a:prstGeom>
        </p:spPr>
        <p:txBody>
          <a:bodyPr wrap="square" lIns="91440" tIns="45720" rIns="91440" bIns="4572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900">
                <a:solidFill>
                  <a:srgbClr val="000000"/>
                </a:solidFill>
                <a:latin typeface="Roboto Slab"/>
              </a:rPr>
              <a:t>Source: https://whatsnew.dentaquest.com/what-happens-when-a-dentist-embraces-teledentistry/?utm_campaign=DentaQuest%20Newsletter&amp;utm_medium=email&amp;_hsmi=97389049&amp;_hsenc=p2ANqtz-_D1OYoOWJNA1FprgYAeOCrUoWL1MJlstJbgaYNxki1Yzk-s2T91sH98-DvQAb9dTJH_oomvWc-KZ4ejmkm3w_A2SVQQMw1qc09N_zl35s7RW_CU_M&amp;utm_content=97389049&amp;utm_source=hs_email</a:t>
            </a:r>
          </a:p>
          <a:p>
            <a:br>
              <a:rPr lang="en-US"/>
            </a:br>
            <a:endParaRPr lang="en-US"/>
          </a:p>
        </p:txBody>
      </p:sp>
    </p:spTree>
    <p:extLst>
      <p:ext uri="{BB962C8B-B14F-4D97-AF65-F5344CB8AC3E}">
        <p14:creationId xmlns:p14="http://schemas.microsoft.com/office/powerpoint/2010/main" val="39154461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94700C9B-B268-421A-8EA5-F55B10CCE28A}"/>
              </a:ext>
            </a:extLst>
          </p:cNvPr>
          <p:cNvCxnSpPr>
            <a:cxnSpLocks/>
          </p:cNvCxnSpPr>
          <p:nvPr/>
        </p:nvCxnSpPr>
        <p:spPr>
          <a:xfrm>
            <a:off x="8889334" y="1969430"/>
            <a:ext cx="0" cy="61611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A Prevention Capable Workflow</a:t>
            </a:r>
          </a:p>
        </p:txBody>
      </p:sp>
      <p:sp>
        <p:nvSpPr>
          <p:cNvPr id="15" name="Rectangle 14">
            <a:extLst>
              <a:ext uri="{FF2B5EF4-FFF2-40B4-BE49-F238E27FC236}">
                <a16:creationId xmlns:a16="http://schemas.microsoft.com/office/drawing/2014/main" id="{B81AB37F-CD90-435B-AC65-48CAA510420E}"/>
              </a:ext>
            </a:extLst>
          </p:cNvPr>
          <p:cNvSpPr/>
          <p:nvPr/>
        </p:nvSpPr>
        <p:spPr>
          <a:xfrm>
            <a:off x="6082525" y="190320"/>
            <a:ext cx="5967127" cy="1104686"/>
          </a:xfrm>
          <a:prstGeom prst="rect">
            <a:avLst/>
          </a:prstGeom>
          <a:noFill/>
          <a:ln w="41275">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91440" tIns="182880" rIns="91440"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solidFill>
                  <a:schemeClr val="tx1"/>
                </a:solidFill>
              </a:rPr>
              <a:t>Varies based on diagnosis and patient preferences</a:t>
            </a:r>
            <a:endParaRPr lang="en-US">
              <a:solidFill>
                <a:schemeClr val="tx1"/>
              </a:solidFill>
            </a:endParaRPr>
          </a:p>
        </p:txBody>
      </p:sp>
      <p:sp>
        <p:nvSpPr>
          <p:cNvPr id="16" name="Rectangle 15">
            <a:extLst>
              <a:ext uri="{FF2B5EF4-FFF2-40B4-BE49-F238E27FC236}">
                <a16:creationId xmlns:a16="http://schemas.microsoft.com/office/drawing/2014/main" id="{AE124BA3-5DC2-42B8-8E54-9A3D5E9226D3}"/>
              </a:ext>
            </a:extLst>
          </p:cNvPr>
          <p:cNvSpPr/>
          <p:nvPr/>
        </p:nvSpPr>
        <p:spPr>
          <a:xfrm>
            <a:off x="6180676" y="634111"/>
            <a:ext cx="919958"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aries Risk Assessment</a:t>
            </a:r>
            <a:endParaRPr lang="en-US"/>
          </a:p>
        </p:txBody>
      </p:sp>
      <p:sp>
        <p:nvSpPr>
          <p:cNvPr id="17" name="Rectangle 16">
            <a:extLst>
              <a:ext uri="{FF2B5EF4-FFF2-40B4-BE49-F238E27FC236}">
                <a16:creationId xmlns:a16="http://schemas.microsoft.com/office/drawing/2014/main" id="{CB440631-8E64-4922-AD70-BEACA287AD22}"/>
              </a:ext>
            </a:extLst>
          </p:cNvPr>
          <p:cNvSpPr/>
          <p:nvPr/>
        </p:nvSpPr>
        <p:spPr>
          <a:xfrm>
            <a:off x="7171116" y="639530"/>
            <a:ext cx="84612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OTC or Rx Medication</a:t>
            </a:r>
            <a:endParaRPr lang="en-US"/>
          </a:p>
        </p:txBody>
      </p:sp>
      <p:sp>
        <p:nvSpPr>
          <p:cNvPr id="18" name="Rectangle 17">
            <a:extLst>
              <a:ext uri="{FF2B5EF4-FFF2-40B4-BE49-F238E27FC236}">
                <a16:creationId xmlns:a16="http://schemas.microsoft.com/office/drawing/2014/main" id="{D8759982-1589-48F6-A692-D9EFEF426CEE}"/>
              </a:ext>
            </a:extLst>
          </p:cNvPr>
          <p:cNvSpPr/>
          <p:nvPr/>
        </p:nvSpPr>
        <p:spPr>
          <a:xfrm>
            <a:off x="8077159" y="641731"/>
            <a:ext cx="1007988"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Management Goals</a:t>
            </a:r>
            <a:endParaRPr lang="en-US"/>
          </a:p>
        </p:txBody>
      </p:sp>
      <p:sp>
        <p:nvSpPr>
          <p:cNvPr id="19" name="Rectangle 18">
            <a:extLst>
              <a:ext uri="{FF2B5EF4-FFF2-40B4-BE49-F238E27FC236}">
                <a16:creationId xmlns:a16="http://schemas.microsoft.com/office/drawing/2014/main" id="{859126D6-0595-4EA3-8EDF-B5DF5131C230}"/>
              </a:ext>
            </a:extLst>
          </p:cNvPr>
          <p:cNvSpPr/>
          <p:nvPr/>
        </p:nvSpPr>
        <p:spPr>
          <a:xfrm>
            <a:off x="9137450" y="642192"/>
            <a:ext cx="848331"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Patient Education</a:t>
            </a:r>
            <a:endParaRPr lang="en-US"/>
          </a:p>
        </p:txBody>
      </p:sp>
      <p:sp>
        <p:nvSpPr>
          <p:cNvPr id="20" name="Rectangle 19">
            <a:extLst>
              <a:ext uri="{FF2B5EF4-FFF2-40B4-BE49-F238E27FC236}">
                <a16:creationId xmlns:a16="http://schemas.microsoft.com/office/drawing/2014/main" id="{0A1306C2-B677-45F9-BE43-1015919CB2D9}"/>
              </a:ext>
            </a:extLst>
          </p:cNvPr>
          <p:cNvSpPr/>
          <p:nvPr/>
        </p:nvSpPr>
        <p:spPr>
          <a:xfrm>
            <a:off x="10038812" y="634572"/>
            <a:ext cx="84612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Care Tips</a:t>
            </a:r>
            <a:endParaRPr lang="en-US"/>
          </a:p>
        </p:txBody>
      </p:sp>
      <p:sp>
        <p:nvSpPr>
          <p:cNvPr id="21" name="Rectangle 20">
            <a:extLst>
              <a:ext uri="{FF2B5EF4-FFF2-40B4-BE49-F238E27FC236}">
                <a16:creationId xmlns:a16="http://schemas.microsoft.com/office/drawing/2014/main" id="{9E9652D0-7EEA-4AD1-9ECF-482E6117E578}"/>
              </a:ext>
            </a:extLst>
          </p:cNvPr>
          <p:cNvSpPr/>
          <p:nvPr/>
        </p:nvSpPr>
        <p:spPr>
          <a:xfrm>
            <a:off x="10934036" y="630133"/>
            <a:ext cx="1022502"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VID-19 Care Plan</a:t>
            </a:r>
            <a:endParaRPr lang="en-US"/>
          </a:p>
        </p:txBody>
      </p:sp>
      <p:sp>
        <p:nvSpPr>
          <p:cNvPr id="22" name="Diamond 21">
            <a:extLst>
              <a:ext uri="{FF2B5EF4-FFF2-40B4-BE49-F238E27FC236}">
                <a16:creationId xmlns:a16="http://schemas.microsoft.com/office/drawing/2014/main" id="{88657DEF-EF0A-483D-AA86-1E659508783A}"/>
              </a:ext>
            </a:extLst>
          </p:cNvPr>
          <p:cNvSpPr/>
          <p:nvPr/>
        </p:nvSpPr>
        <p:spPr>
          <a:xfrm>
            <a:off x="7891653" y="1386515"/>
            <a:ext cx="2006791" cy="814974"/>
          </a:xfrm>
          <a:prstGeom prst="diamond">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a:t>
            </a:r>
            <a:br>
              <a:rPr lang="en-US" sz="1050"/>
            </a:br>
            <a:r>
              <a:rPr lang="en-US" sz="1050"/>
              <a:t>if in-person visit </a:t>
            </a:r>
            <a:br>
              <a:rPr lang="en-US" sz="1050"/>
            </a:br>
            <a:r>
              <a:rPr lang="en-US" sz="1050"/>
              <a:t>is needed</a:t>
            </a:r>
            <a:endParaRPr lang="en-US"/>
          </a:p>
        </p:txBody>
      </p:sp>
      <p:sp>
        <p:nvSpPr>
          <p:cNvPr id="23" name="Rectangle 22">
            <a:extLst>
              <a:ext uri="{FF2B5EF4-FFF2-40B4-BE49-F238E27FC236}">
                <a16:creationId xmlns:a16="http://schemas.microsoft.com/office/drawing/2014/main" id="{3AA68C7C-263A-4AA8-A7D7-3A23CBE13803}"/>
              </a:ext>
            </a:extLst>
          </p:cNvPr>
          <p:cNvSpPr/>
          <p:nvPr/>
        </p:nvSpPr>
        <p:spPr>
          <a:xfrm>
            <a:off x="8043212" y="2593387"/>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visit type </a:t>
            </a:r>
            <a:br>
              <a:rPr lang="en-US" sz="1050"/>
            </a:br>
            <a:r>
              <a:rPr lang="en-US" sz="1050"/>
              <a:t>and location</a:t>
            </a:r>
            <a:endParaRPr lang="en-US"/>
          </a:p>
        </p:txBody>
      </p:sp>
      <p:sp>
        <p:nvSpPr>
          <p:cNvPr id="37" name="TextBox 34">
            <a:extLst>
              <a:ext uri="{FF2B5EF4-FFF2-40B4-BE49-F238E27FC236}">
                <a16:creationId xmlns:a16="http://schemas.microsoft.com/office/drawing/2014/main" id="{F768AE1C-655A-4E0B-B785-0E366502CAD6}"/>
              </a:ext>
            </a:extLst>
          </p:cNvPr>
          <p:cNvSpPr txBox="1"/>
          <p:nvPr/>
        </p:nvSpPr>
        <p:spPr>
          <a:xfrm>
            <a:off x="8958623" y="2226400"/>
            <a:ext cx="553357" cy="276999"/>
          </a:xfrm>
          <a:prstGeom prst="rect">
            <a:avLst/>
          </a:prstGeom>
          <a:noFill/>
        </p:spPr>
        <p:txBody>
          <a:bodyPr wrap="non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If yes</a:t>
            </a:r>
            <a:endParaRPr lang="en-US"/>
          </a:p>
        </p:txBody>
      </p:sp>
      <p:cxnSp>
        <p:nvCxnSpPr>
          <p:cNvPr id="40" name="Elbow Connector 67">
            <a:extLst>
              <a:ext uri="{FF2B5EF4-FFF2-40B4-BE49-F238E27FC236}">
                <a16:creationId xmlns:a16="http://schemas.microsoft.com/office/drawing/2014/main" id="{A339A679-1AC3-4F79-881B-DC648B114A2C}"/>
              </a:ext>
            </a:extLst>
          </p:cNvPr>
          <p:cNvCxnSpPr>
            <a:cxnSpLocks/>
          </p:cNvCxnSpPr>
          <p:nvPr/>
        </p:nvCxnSpPr>
        <p:spPr>
          <a:xfrm flipV="1">
            <a:off x="9735452" y="1883806"/>
            <a:ext cx="2226268" cy="986135"/>
          </a:xfrm>
          <a:prstGeom prst="bentConnector3">
            <a:avLst>
              <a:gd name="adj1" fmla="val 100070"/>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TextBox 38">
            <a:extLst>
              <a:ext uri="{FF2B5EF4-FFF2-40B4-BE49-F238E27FC236}">
                <a16:creationId xmlns:a16="http://schemas.microsoft.com/office/drawing/2014/main" id="{DA5341D6-FF38-4920-A003-A4160D9962BE}"/>
              </a:ext>
            </a:extLst>
          </p:cNvPr>
          <p:cNvSpPr txBox="1"/>
          <p:nvPr/>
        </p:nvSpPr>
        <p:spPr>
          <a:xfrm>
            <a:off x="9833498" y="2574137"/>
            <a:ext cx="2415769"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Care plan until in-office visit</a:t>
            </a:r>
            <a:endParaRPr lang="en-US"/>
          </a:p>
        </p:txBody>
      </p:sp>
      <p:pic>
        <p:nvPicPr>
          <p:cNvPr id="25" name="Picture 24">
            <a:extLst>
              <a:ext uri="{FF2B5EF4-FFF2-40B4-BE49-F238E27FC236}">
                <a16:creationId xmlns:a16="http://schemas.microsoft.com/office/drawing/2014/main" id="{2AE3116B-3B44-4C0C-8672-DE568CD608FB}"/>
              </a:ext>
            </a:extLst>
          </p:cNvPr>
          <p:cNvPicPr>
            <a:picLocks noChangeAspect="1"/>
          </p:cNvPicPr>
          <p:nvPr/>
        </p:nvPicPr>
        <p:blipFill>
          <a:blip r:embed="rId3"/>
          <a:stretch>
            <a:fillRect/>
          </a:stretch>
        </p:blipFill>
        <p:spPr>
          <a:xfrm>
            <a:off x="41569" y="1828800"/>
            <a:ext cx="5576188" cy="4414746"/>
          </a:xfrm>
          <a:prstGeom prst="rect">
            <a:avLst/>
          </a:prstGeom>
        </p:spPr>
      </p:pic>
    </p:spTree>
    <p:extLst>
      <p:ext uri="{BB962C8B-B14F-4D97-AF65-F5344CB8AC3E}">
        <p14:creationId xmlns:p14="http://schemas.microsoft.com/office/powerpoint/2010/main" val="103213591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94700C9B-B268-421A-8EA5-F55B10CCE28A}"/>
              </a:ext>
            </a:extLst>
          </p:cNvPr>
          <p:cNvCxnSpPr>
            <a:cxnSpLocks/>
          </p:cNvCxnSpPr>
          <p:nvPr/>
        </p:nvCxnSpPr>
        <p:spPr>
          <a:xfrm>
            <a:off x="8889334" y="1969430"/>
            <a:ext cx="0" cy="61611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A Prevention Capable Workflow</a:t>
            </a:r>
          </a:p>
        </p:txBody>
      </p:sp>
      <p:sp>
        <p:nvSpPr>
          <p:cNvPr id="10" name="TextBox 7">
            <a:extLst>
              <a:ext uri="{FF2B5EF4-FFF2-40B4-BE49-F238E27FC236}">
                <a16:creationId xmlns:a16="http://schemas.microsoft.com/office/drawing/2014/main" id="{B12981A8-AE90-4116-AB07-D5BEB5F8B50E}"/>
              </a:ext>
            </a:extLst>
          </p:cNvPr>
          <p:cNvSpPr txBox="1"/>
          <p:nvPr/>
        </p:nvSpPr>
        <p:spPr>
          <a:xfrm>
            <a:off x="5905304" y="3926031"/>
            <a:ext cx="1485300"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gn="ctr">
              <a:lnSpc>
                <a:spcPct val="90000"/>
              </a:lnSpc>
              <a:buNone/>
            </a:pPr>
            <a:r>
              <a:rPr lang="en-US" sz="1400" b="1">
                <a:latin typeface="Arial"/>
                <a:cs typeface="Arial"/>
              </a:rPr>
              <a:t>Via </a:t>
            </a:r>
            <a:r>
              <a:rPr lang="en-US" sz="1400" b="1" err="1">
                <a:latin typeface="Arial"/>
                <a:cs typeface="Arial"/>
              </a:rPr>
              <a:t>teledentistry</a:t>
            </a:r>
            <a:r>
              <a:rPr lang="en-US" sz="1400" b="1">
                <a:latin typeface="Arial"/>
                <a:cs typeface="Arial"/>
              </a:rPr>
              <a:t> </a:t>
            </a:r>
            <a:endParaRPr lang="en-US">
              <a:latin typeface="Arial"/>
              <a:cs typeface="Arial"/>
            </a:endParaRPr>
          </a:p>
        </p:txBody>
      </p:sp>
      <p:sp>
        <p:nvSpPr>
          <p:cNvPr id="15" name="Rectangle 14">
            <a:extLst>
              <a:ext uri="{FF2B5EF4-FFF2-40B4-BE49-F238E27FC236}">
                <a16:creationId xmlns:a16="http://schemas.microsoft.com/office/drawing/2014/main" id="{B81AB37F-CD90-435B-AC65-48CAA510420E}"/>
              </a:ext>
            </a:extLst>
          </p:cNvPr>
          <p:cNvSpPr/>
          <p:nvPr/>
        </p:nvSpPr>
        <p:spPr>
          <a:xfrm>
            <a:off x="6082525" y="190320"/>
            <a:ext cx="5967127" cy="1104686"/>
          </a:xfrm>
          <a:prstGeom prst="rect">
            <a:avLst/>
          </a:prstGeom>
          <a:noFill/>
          <a:ln w="41275">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91440" tIns="182880" rIns="91440"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solidFill>
                  <a:schemeClr val="tx1"/>
                </a:solidFill>
              </a:rPr>
              <a:t>Varies based on diagnosis and patient preferences</a:t>
            </a:r>
            <a:endParaRPr lang="en-US">
              <a:solidFill>
                <a:schemeClr val="tx1"/>
              </a:solidFill>
            </a:endParaRPr>
          </a:p>
        </p:txBody>
      </p:sp>
      <p:sp>
        <p:nvSpPr>
          <p:cNvPr id="16" name="Rectangle 15">
            <a:extLst>
              <a:ext uri="{FF2B5EF4-FFF2-40B4-BE49-F238E27FC236}">
                <a16:creationId xmlns:a16="http://schemas.microsoft.com/office/drawing/2014/main" id="{AE124BA3-5DC2-42B8-8E54-9A3D5E9226D3}"/>
              </a:ext>
            </a:extLst>
          </p:cNvPr>
          <p:cNvSpPr/>
          <p:nvPr/>
        </p:nvSpPr>
        <p:spPr>
          <a:xfrm>
            <a:off x="6180676" y="634111"/>
            <a:ext cx="919958"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aries Risk Assessment</a:t>
            </a:r>
            <a:endParaRPr lang="en-US"/>
          </a:p>
        </p:txBody>
      </p:sp>
      <p:sp>
        <p:nvSpPr>
          <p:cNvPr id="17" name="Rectangle 16">
            <a:extLst>
              <a:ext uri="{FF2B5EF4-FFF2-40B4-BE49-F238E27FC236}">
                <a16:creationId xmlns:a16="http://schemas.microsoft.com/office/drawing/2014/main" id="{CB440631-8E64-4922-AD70-BEACA287AD22}"/>
              </a:ext>
            </a:extLst>
          </p:cNvPr>
          <p:cNvSpPr/>
          <p:nvPr/>
        </p:nvSpPr>
        <p:spPr>
          <a:xfrm>
            <a:off x="7171116" y="639530"/>
            <a:ext cx="84612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OTC or Rx Medication</a:t>
            </a:r>
            <a:endParaRPr lang="en-US"/>
          </a:p>
        </p:txBody>
      </p:sp>
      <p:sp>
        <p:nvSpPr>
          <p:cNvPr id="18" name="Rectangle 17">
            <a:extLst>
              <a:ext uri="{FF2B5EF4-FFF2-40B4-BE49-F238E27FC236}">
                <a16:creationId xmlns:a16="http://schemas.microsoft.com/office/drawing/2014/main" id="{D8759982-1589-48F6-A692-D9EFEF426CEE}"/>
              </a:ext>
            </a:extLst>
          </p:cNvPr>
          <p:cNvSpPr/>
          <p:nvPr/>
        </p:nvSpPr>
        <p:spPr>
          <a:xfrm>
            <a:off x="8077159" y="641731"/>
            <a:ext cx="1007988"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Management Goals</a:t>
            </a:r>
            <a:endParaRPr lang="en-US"/>
          </a:p>
        </p:txBody>
      </p:sp>
      <p:sp>
        <p:nvSpPr>
          <p:cNvPr id="19" name="Rectangle 18">
            <a:extLst>
              <a:ext uri="{FF2B5EF4-FFF2-40B4-BE49-F238E27FC236}">
                <a16:creationId xmlns:a16="http://schemas.microsoft.com/office/drawing/2014/main" id="{859126D6-0595-4EA3-8EDF-B5DF5131C230}"/>
              </a:ext>
            </a:extLst>
          </p:cNvPr>
          <p:cNvSpPr/>
          <p:nvPr/>
        </p:nvSpPr>
        <p:spPr>
          <a:xfrm>
            <a:off x="9137450" y="642192"/>
            <a:ext cx="848331"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Patient Education</a:t>
            </a:r>
            <a:endParaRPr lang="en-US"/>
          </a:p>
        </p:txBody>
      </p:sp>
      <p:sp>
        <p:nvSpPr>
          <p:cNvPr id="20" name="Rectangle 19">
            <a:extLst>
              <a:ext uri="{FF2B5EF4-FFF2-40B4-BE49-F238E27FC236}">
                <a16:creationId xmlns:a16="http://schemas.microsoft.com/office/drawing/2014/main" id="{0A1306C2-B677-45F9-BE43-1015919CB2D9}"/>
              </a:ext>
            </a:extLst>
          </p:cNvPr>
          <p:cNvSpPr/>
          <p:nvPr/>
        </p:nvSpPr>
        <p:spPr>
          <a:xfrm>
            <a:off x="10038812" y="634572"/>
            <a:ext cx="84612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Care Tips</a:t>
            </a:r>
            <a:endParaRPr lang="en-US"/>
          </a:p>
        </p:txBody>
      </p:sp>
      <p:sp>
        <p:nvSpPr>
          <p:cNvPr id="21" name="Rectangle 20">
            <a:extLst>
              <a:ext uri="{FF2B5EF4-FFF2-40B4-BE49-F238E27FC236}">
                <a16:creationId xmlns:a16="http://schemas.microsoft.com/office/drawing/2014/main" id="{9E9652D0-7EEA-4AD1-9ECF-482E6117E578}"/>
              </a:ext>
            </a:extLst>
          </p:cNvPr>
          <p:cNvSpPr/>
          <p:nvPr/>
        </p:nvSpPr>
        <p:spPr>
          <a:xfrm>
            <a:off x="10934036" y="630133"/>
            <a:ext cx="1022502"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VID-19 Care Plan</a:t>
            </a:r>
            <a:endParaRPr lang="en-US"/>
          </a:p>
        </p:txBody>
      </p:sp>
      <p:sp>
        <p:nvSpPr>
          <p:cNvPr id="22" name="Diamond 21">
            <a:extLst>
              <a:ext uri="{FF2B5EF4-FFF2-40B4-BE49-F238E27FC236}">
                <a16:creationId xmlns:a16="http://schemas.microsoft.com/office/drawing/2014/main" id="{88657DEF-EF0A-483D-AA86-1E659508783A}"/>
              </a:ext>
            </a:extLst>
          </p:cNvPr>
          <p:cNvSpPr/>
          <p:nvPr/>
        </p:nvSpPr>
        <p:spPr>
          <a:xfrm>
            <a:off x="7891653" y="1386515"/>
            <a:ext cx="2006791" cy="814974"/>
          </a:xfrm>
          <a:prstGeom prst="diamond">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a:t>
            </a:r>
            <a:br>
              <a:rPr lang="en-US" sz="1050"/>
            </a:br>
            <a:r>
              <a:rPr lang="en-US" sz="1050"/>
              <a:t>if in-person visit </a:t>
            </a:r>
            <a:br>
              <a:rPr lang="en-US" sz="1050"/>
            </a:br>
            <a:r>
              <a:rPr lang="en-US" sz="1050"/>
              <a:t>is needed</a:t>
            </a:r>
            <a:endParaRPr lang="en-US"/>
          </a:p>
        </p:txBody>
      </p:sp>
      <p:sp>
        <p:nvSpPr>
          <p:cNvPr id="23" name="Rectangle 22">
            <a:extLst>
              <a:ext uri="{FF2B5EF4-FFF2-40B4-BE49-F238E27FC236}">
                <a16:creationId xmlns:a16="http://schemas.microsoft.com/office/drawing/2014/main" id="{3AA68C7C-263A-4AA8-A7D7-3A23CBE13803}"/>
              </a:ext>
            </a:extLst>
          </p:cNvPr>
          <p:cNvSpPr/>
          <p:nvPr/>
        </p:nvSpPr>
        <p:spPr>
          <a:xfrm>
            <a:off x="8043212" y="2593387"/>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visit type </a:t>
            </a:r>
            <a:br>
              <a:rPr lang="en-US" sz="1050"/>
            </a:br>
            <a:r>
              <a:rPr lang="en-US" sz="1050"/>
              <a:t>and location</a:t>
            </a:r>
            <a:endParaRPr lang="en-US"/>
          </a:p>
        </p:txBody>
      </p:sp>
      <p:sp>
        <p:nvSpPr>
          <p:cNvPr id="24" name="Rectangle 23">
            <a:extLst>
              <a:ext uri="{FF2B5EF4-FFF2-40B4-BE49-F238E27FC236}">
                <a16:creationId xmlns:a16="http://schemas.microsoft.com/office/drawing/2014/main" id="{DD6CC340-1E77-45B3-A842-18F73163ADA9}"/>
              </a:ext>
            </a:extLst>
          </p:cNvPr>
          <p:cNvSpPr/>
          <p:nvPr/>
        </p:nvSpPr>
        <p:spPr>
          <a:xfrm>
            <a:off x="8889333" y="3326470"/>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ntal office visit</a:t>
            </a:r>
            <a:endParaRPr lang="en-US"/>
          </a:p>
        </p:txBody>
      </p:sp>
      <p:sp>
        <p:nvSpPr>
          <p:cNvPr id="25" name="Rectangle 24">
            <a:extLst>
              <a:ext uri="{FF2B5EF4-FFF2-40B4-BE49-F238E27FC236}">
                <a16:creationId xmlns:a16="http://schemas.microsoft.com/office/drawing/2014/main" id="{8CC2E127-6443-45BB-80BC-0D25D50F7519}"/>
              </a:ext>
            </a:extLst>
          </p:cNvPr>
          <p:cNvSpPr/>
          <p:nvPr/>
        </p:nvSpPr>
        <p:spPr>
          <a:xfrm>
            <a:off x="8888065" y="4059553"/>
            <a:ext cx="169224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nsider minimally invasive or low aerosol-producing procedures</a:t>
            </a:r>
            <a:endParaRPr lang="en-US"/>
          </a:p>
        </p:txBody>
      </p:sp>
      <p:sp>
        <p:nvSpPr>
          <p:cNvPr id="26" name="Rectangle 25">
            <a:extLst>
              <a:ext uri="{FF2B5EF4-FFF2-40B4-BE49-F238E27FC236}">
                <a16:creationId xmlns:a16="http://schemas.microsoft.com/office/drawing/2014/main" id="{29833A2B-1520-45EB-B0B7-9D2B8E5ADB47}"/>
              </a:ext>
            </a:extLst>
          </p:cNvPr>
          <p:cNvSpPr/>
          <p:nvPr/>
        </p:nvSpPr>
        <p:spPr>
          <a:xfrm>
            <a:off x="7025103" y="3326470"/>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Refer to medical professional or ED </a:t>
            </a:r>
            <a:br>
              <a:rPr lang="en-US" sz="1050"/>
            </a:br>
            <a:r>
              <a:rPr lang="en-US" sz="1050"/>
              <a:t>if needed</a:t>
            </a:r>
            <a:endParaRPr lang="en-US"/>
          </a:p>
        </p:txBody>
      </p:sp>
      <p:cxnSp>
        <p:nvCxnSpPr>
          <p:cNvPr id="32" name="Straight Arrow Connector 31">
            <a:extLst>
              <a:ext uri="{FF2B5EF4-FFF2-40B4-BE49-F238E27FC236}">
                <a16:creationId xmlns:a16="http://schemas.microsoft.com/office/drawing/2014/main" id="{4F3015ED-B58D-48D1-A9E7-314772158B24}"/>
              </a:ext>
            </a:extLst>
          </p:cNvPr>
          <p:cNvCxnSpPr>
            <a:cxnSpLocks/>
          </p:cNvCxnSpPr>
          <p:nvPr/>
        </p:nvCxnSpPr>
        <p:spPr>
          <a:xfrm flipH="1">
            <a:off x="7871223" y="3146495"/>
            <a:ext cx="1018109" cy="17997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883D7913-A7A6-40C1-915B-8BFB5EA47A2E}"/>
              </a:ext>
            </a:extLst>
          </p:cNvPr>
          <p:cNvCxnSpPr>
            <a:cxnSpLocks/>
          </p:cNvCxnSpPr>
          <p:nvPr/>
        </p:nvCxnSpPr>
        <p:spPr>
          <a:xfrm>
            <a:off x="8889333" y="3146495"/>
            <a:ext cx="846120" cy="17997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7" name="TextBox 34">
            <a:extLst>
              <a:ext uri="{FF2B5EF4-FFF2-40B4-BE49-F238E27FC236}">
                <a16:creationId xmlns:a16="http://schemas.microsoft.com/office/drawing/2014/main" id="{F768AE1C-655A-4E0B-B785-0E366502CAD6}"/>
              </a:ext>
            </a:extLst>
          </p:cNvPr>
          <p:cNvSpPr txBox="1"/>
          <p:nvPr/>
        </p:nvSpPr>
        <p:spPr>
          <a:xfrm>
            <a:off x="8958623" y="2226400"/>
            <a:ext cx="553357" cy="276999"/>
          </a:xfrm>
          <a:prstGeom prst="rect">
            <a:avLst/>
          </a:prstGeom>
          <a:noFill/>
        </p:spPr>
        <p:txBody>
          <a:bodyPr wrap="non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If yes</a:t>
            </a:r>
            <a:endParaRPr lang="en-US"/>
          </a:p>
        </p:txBody>
      </p:sp>
      <p:cxnSp>
        <p:nvCxnSpPr>
          <p:cNvPr id="39" name="Straight Arrow Connector 38">
            <a:extLst>
              <a:ext uri="{FF2B5EF4-FFF2-40B4-BE49-F238E27FC236}">
                <a16:creationId xmlns:a16="http://schemas.microsoft.com/office/drawing/2014/main" id="{1D6FF747-63B3-414B-8DF4-2B5400C2A3FC}"/>
              </a:ext>
            </a:extLst>
          </p:cNvPr>
          <p:cNvCxnSpPr>
            <a:cxnSpLocks/>
          </p:cNvCxnSpPr>
          <p:nvPr/>
        </p:nvCxnSpPr>
        <p:spPr>
          <a:xfrm flipH="1">
            <a:off x="6423570" y="3574889"/>
            <a:ext cx="601534" cy="0"/>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Elbow Connector 67">
            <a:extLst>
              <a:ext uri="{FF2B5EF4-FFF2-40B4-BE49-F238E27FC236}">
                <a16:creationId xmlns:a16="http://schemas.microsoft.com/office/drawing/2014/main" id="{A339A679-1AC3-4F79-881B-DC648B114A2C}"/>
              </a:ext>
            </a:extLst>
          </p:cNvPr>
          <p:cNvCxnSpPr>
            <a:cxnSpLocks/>
          </p:cNvCxnSpPr>
          <p:nvPr/>
        </p:nvCxnSpPr>
        <p:spPr>
          <a:xfrm flipV="1">
            <a:off x="9735452" y="1883806"/>
            <a:ext cx="2226268" cy="986135"/>
          </a:xfrm>
          <a:prstGeom prst="bentConnector3">
            <a:avLst>
              <a:gd name="adj1" fmla="val 100070"/>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TextBox 38">
            <a:extLst>
              <a:ext uri="{FF2B5EF4-FFF2-40B4-BE49-F238E27FC236}">
                <a16:creationId xmlns:a16="http://schemas.microsoft.com/office/drawing/2014/main" id="{DA5341D6-FF38-4920-A003-A4160D9962BE}"/>
              </a:ext>
            </a:extLst>
          </p:cNvPr>
          <p:cNvSpPr txBox="1"/>
          <p:nvPr/>
        </p:nvSpPr>
        <p:spPr>
          <a:xfrm>
            <a:off x="9833498" y="2574137"/>
            <a:ext cx="2415769"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Care plan until in-office visit</a:t>
            </a:r>
            <a:endParaRPr lang="en-US"/>
          </a:p>
        </p:txBody>
      </p:sp>
      <p:pic>
        <p:nvPicPr>
          <p:cNvPr id="28" name="Picture 27">
            <a:extLst>
              <a:ext uri="{FF2B5EF4-FFF2-40B4-BE49-F238E27FC236}">
                <a16:creationId xmlns:a16="http://schemas.microsoft.com/office/drawing/2014/main" id="{84E14ADF-932F-404F-B15B-B86474972143}"/>
              </a:ext>
            </a:extLst>
          </p:cNvPr>
          <p:cNvPicPr>
            <a:picLocks noChangeAspect="1"/>
          </p:cNvPicPr>
          <p:nvPr/>
        </p:nvPicPr>
        <p:blipFill>
          <a:blip r:embed="rId3"/>
          <a:stretch>
            <a:fillRect/>
          </a:stretch>
        </p:blipFill>
        <p:spPr>
          <a:xfrm>
            <a:off x="45720" y="1828800"/>
            <a:ext cx="5594350" cy="4429125"/>
          </a:xfrm>
          <a:prstGeom prst="rect">
            <a:avLst/>
          </a:prstGeom>
        </p:spPr>
      </p:pic>
      <p:sp>
        <p:nvSpPr>
          <p:cNvPr id="27" name="Rounded Rectangle 29">
            <a:extLst>
              <a:ext uri="{FF2B5EF4-FFF2-40B4-BE49-F238E27FC236}">
                <a16:creationId xmlns:a16="http://schemas.microsoft.com/office/drawing/2014/main" id="{5F1328BC-8D9C-45BE-B2BD-A97924A63A6D}"/>
              </a:ext>
            </a:extLst>
          </p:cNvPr>
          <p:cNvSpPr/>
          <p:nvPr/>
        </p:nvSpPr>
        <p:spPr>
          <a:xfrm>
            <a:off x="4938271" y="3326470"/>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chedule for next visit or refer</a:t>
            </a:r>
            <a:endParaRPr lang="en-US"/>
          </a:p>
        </p:txBody>
      </p:sp>
    </p:spTree>
    <p:extLst>
      <p:ext uri="{BB962C8B-B14F-4D97-AF65-F5344CB8AC3E}">
        <p14:creationId xmlns:p14="http://schemas.microsoft.com/office/powerpoint/2010/main" val="357694667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4392D-753F-440A-8DE4-6C170094B792}"/>
              </a:ext>
            </a:extLst>
          </p:cNvPr>
          <p:cNvSpPr>
            <a:spLocks noGrp="1"/>
          </p:cNvSpPr>
          <p:nvPr>
            <p:ph type="title"/>
          </p:nvPr>
        </p:nvSpPr>
        <p:spPr>
          <a:xfrm>
            <a:off x="301637" y="543464"/>
            <a:ext cx="11338847" cy="914400"/>
          </a:xfrm>
        </p:spPr>
        <p:txBody>
          <a:bodyPr/>
          <a:lstStyle/>
          <a:p>
            <a:r>
              <a:rPr lang="en-US">
                <a:cs typeface="Arial"/>
              </a:rPr>
              <a:t>Chat Question</a:t>
            </a:r>
            <a:endParaRPr lang="en-US"/>
          </a:p>
        </p:txBody>
      </p:sp>
      <p:sp>
        <p:nvSpPr>
          <p:cNvPr id="3" name="Text Placeholder 2">
            <a:extLst>
              <a:ext uri="{FF2B5EF4-FFF2-40B4-BE49-F238E27FC236}">
                <a16:creationId xmlns:a16="http://schemas.microsoft.com/office/drawing/2014/main" id="{E2C15854-EBCB-420B-A63A-EEE5C8094E4E}"/>
              </a:ext>
            </a:extLst>
          </p:cNvPr>
          <p:cNvSpPr>
            <a:spLocks noGrp="1"/>
          </p:cNvSpPr>
          <p:nvPr>
            <p:ph type="body" sz="half" idx="2"/>
          </p:nvPr>
        </p:nvSpPr>
        <p:spPr/>
        <p:txBody>
          <a:bodyPr/>
          <a:lstStyle/>
          <a:p>
            <a:endParaRPr lang="en-US"/>
          </a:p>
        </p:txBody>
      </p:sp>
      <p:sp>
        <p:nvSpPr>
          <p:cNvPr id="5" name="Rectangle: Rounded Corners 4">
            <a:extLst>
              <a:ext uri="{FF2B5EF4-FFF2-40B4-BE49-F238E27FC236}">
                <a16:creationId xmlns:a16="http://schemas.microsoft.com/office/drawing/2014/main" id="{C8338EC5-949D-45A0-B593-7FD9013D5B44}"/>
              </a:ext>
            </a:extLst>
          </p:cNvPr>
          <p:cNvSpPr/>
          <p:nvPr/>
        </p:nvSpPr>
        <p:spPr>
          <a:xfrm>
            <a:off x="4373592" y="1835990"/>
            <a:ext cx="6607832" cy="3200398"/>
          </a:xfrm>
          <a:prstGeom prst="roundRect">
            <a:avLst/>
          </a:prstGeom>
          <a:solidFill>
            <a:schemeClr val="tx2"/>
          </a:solidFill>
          <a:ln w="57150">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000">
              <a:ea typeface="+mn-lt"/>
              <a:cs typeface="+mn-lt"/>
            </a:endParaRPr>
          </a:p>
          <a:p>
            <a:pPr algn="ctr"/>
            <a:endParaRPr lang="en-US" sz="3000">
              <a:ea typeface="+mn-lt"/>
              <a:cs typeface="+mn-lt"/>
            </a:endParaRPr>
          </a:p>
          <a:p>
            <a:pPr algn="ctr"/>
            <a:r>
              <a:rPr lang="en-US" sz="3000">
                <a:ea typeface="+mn-lt"/>
                <a:cs typeface="+mn-lt"/>
              </a:rPr>
              <a:t>In what state are you located and what is your current role?</a:t>
            </a:r>
            <a:endParaRPr lang="en-US">
              <a:cs typeface="Arial"/>
            </a:endParaRPr>
          </a:p>
          <a:p>
            <a:pPr algn="ctr"/>
            <a:endParaRPr lang="en-US" b="1">
              <a:ea typeface="+mn-lt"/>
              <a:cs typeface="+mn-lt"/>
            </a:endParaRPr>
          </a:p>
          <a:p>
            <a:endParaRPr lang="en-US">
              <a:cs typeface="Arial"/>
            </a:endParaRPr>
          </a:p>
          <a:p>
            <a:pPr>
              <a:buFont typeface="Arial"/>
            </a:pPr>
            <a:endParaRPr lang="en-US">
              <a:cs typeface="Arial"/>
            </a:endParaRPr>
          </a:p>
          <a:p>
            <a:pPr algn="ctr"/>
            <a:endParaRPr lang="en-US">
              <a:cs typeface="Arial"/>
            </a:endParaRPr>
          </a:p>
        </p:txBody>
      </p:sp>
      <p:pic>
        <p:nvPicPr>
          <p:cNvPr id="7" name="Picture 7" descr="A close up of a logo&#10;&#10;Description automatically generated">
            <a:extLst>
              <a:ext uri="{FF2B5EF4-FFF2-40B4-BE49-F238E27FC236}">
                <a16:creationId xmlns:a16="http://schemas.microsoft.com/office/drawing/2014/main" id="{814B0D37-8C6A-44D9-8466-32A5B8E9BD24}"/>
              </a:ext>
            </a:extLst>
          </p:cNvPr>
          <p:cNvPicPr>
            <a:picLocks noChangeAspect="1"/>
          </p:cNvPicPr>
          <p:nvPr/>
        </p:nvPicPr>
        <p:blipFill>
          <a:blip r:embed="rId3"/>
          <a:stretch>
            <a:fillRect/>
          </a:stretch>
        </p:blipFill>
        <p:spPr>
          <a:xfrm>
            <a:off x="900022" y="2366462"/>
            <a:ext cx="2585050" cy="2254471"/>
          </a:xfrm>
          <a:prstGeom prst="rect">
            <a:avLst/>
          </a:prstGeom>
        </p:spPr>
      </p:pic>
    </p:spTree>
    <p:extLst>
      <p:ext uri="{BB962C8B-B14F-4D97-AF65-F5344CB8AC3E}">
        <p14:creationId xmlns:p14="http://schemas.microsoft.com/office/powerpoint/2010/main" val="6960527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 name="Straight Arrow Connector 3">
            <a:extLst>
              <a:ext uri="{FF2B5EF4-FFF2-40B4-BE49-F238E27FC236}">
                <a16:creationId xmlns:a16="http://schemas.microsoft.com/office/drawing/2014/main" id="{94700C9B-B268-421A-8EA5-F55B10CCE28A}"/>
              </a:ext>
            </a:extLst>
          </p:cNvPr>
          <p:cNvCxnSpPr>
            <a:cxnSpLocks/>
          </p:cNvCxnSpPr>
          <p:nvPr/>
        </p:nvCxnSpPr>
        <p:spPr>
          <a:xfrm>
            <a:off x="5369145" y="3933387"/>
            <a:ext cx="0" cy="61611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5" name="Straight Arrow Connector 4">
            <a:extLst>
              <a:ext uri="{FF2B5EF4-FFF2-40B4-BE49-F238E27FC236}">
                <a16:creationId xmlns:a16="http://schemas.microsoft.com/office/drawing/2014/main" id="{9F4187C4-1805-436B-9896-6E16904095CC}"/>
              </a:ext>
            </a:extLst>
          </p:cNvPr>
          <p:cNvCxnSpPr>
            <a:cxnSpLocks/>
          </p:cNvCxnSpPr>
          <p:nvPr/>
        </p:nvCxnSpPr>
        <p:spPr>
          <a:xfrm>
            <a:off x="6213997" y="3757804"/>
            <a:ext cx="2518184" cy="0"/>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6" name="Title 1">
            <a:extLst>
              <a:ext uri="{FF2B5EF4-FFF2-40B4-BE49-F238E27FC236}">
                <a16:creationId xmlns:a16="http://schemas.microsoft.com/office/drawing/2014/main" id="{0B02E11B-6D28-4690-846A-9A12B28BB52E}"/>
              </a:ext>
            </a:extLst>
          </p:cNvPr>
          <p:cNvSpPr>
            <a:spLocks noGrp="1"/>
          </p:cNvSpPr>
          <p:nvPr/>
        </p:nvSpPr>
        <p:spPr>
          <a:xfrm>
            <a:off x="424926" y="344843"/>
            <a:ext cx="10835640" cy="914400"/>
          </a:xfrm>
          <a:prstGeom prst="rect">
            <a:avLst/>
          </a:prstGeom>
        </p:spPr>
        <p:txBody>
          <a:bodyPr vert="horz" lIns="0" tIns="45720" rIns="0" bIns="45720" rtlCol="0" anchor="t" anchorCtr="0">
            <a:noAutofit/>
          </a:bodyPr>
          <a:lstStyle>
            <a:lvl1pPr algn="l" defTabSz="457200" rtl="0" eaLnBrk="1" latinLnBrk="0" hangingPunct="1">
              <a:spcBef>
                <a:spcPct val="0"/>
              </a:spcBef>
              <a:buNone/>
              <a:defRPr sz="2800" b="1" kern="1200">
                <a:solidFill>
                  <a:schemeClr val="tx2"/>
                </a:solidFill>
                <a:latin typeface="+mj-lt"/>
                <a:ea typeface="+mj-ea"/>
                <a:cs typeface="+mj-cs"/>
              </a:defRPr>
            </a:lvl1pPr>
          </a:lstStyle>
          <a:p>
            <a:r>
              <a:rPr lang="en-US">
                <a:cs typeface="Arial"/>
              </a:rPr>
              <a:t>A Prevention Capable Workflow</a:t>
            </a:r>
          </a:p>
        </p:txBody>
      </p:sp>
      <p:sp>
        <p:nvSpPr>
          <p:cNvPr id="7" name="TextBox 4">
            <a:extLst>
              <a:ext uri="{FF2B5EF4-FFF2-40B4-BE49-F238E27FC236}">
                <a16:creationId xmlns:a16="http://schemas.microsoft.com/office/drawing/2014/main" id="{71E99223-A065-4690-B96C-81FE0EDF3AFD}"/>
              </a:ext>
            </a:extLst>
          </p:cNvPr>
          <p:cNvSpPr txBox="1"/>
          <p:nvPr/>
        </p:nvSpPr>
        <p:spPr>
          <a:xfrm>
            <a:off x="6378256" y="2024330"/>
            <a:ext cx="1692241"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nSpc>
                <a:spcPct val="90000"/>
              </a:lnSpc>
              <a:buNone/>
            </a:pPr>
            <a:r>
              <a:rPr lang="en-US" sz="1400" b="1">
                <a:latin typeface="Arial"/>
                <a:cs typeface="Arial"/>
              </a:rPr>
              <a:t>Minimizes exposure risk</a:t>
            </a:r>
            <a:endParaRPr lang="en-US">
              <a:latin typeface="Arial"/>
              <a:cs typeface="Arial"/>
            </a:endParaRPr>
          </a:p>
        </p:txBody>
      </p:sp>
      <p:sp>
        <p:nvSpPr>
          <p:cNvPr id="9" name="TextBox 6">
            <a:extLst>
              <a:ext uri="{FF2B5EF4-FFF2-40B4-BE49-F238E27FC236}">
                <a16:creationId xmlns:a16="http://schemas.microsoft.com/office/drawing/2014/main" id="{A450AFBB-BC8B-4B99-926B-23D778487FA4}"/>
              </a:ext>
            </a:extLst>
          </p:cNvPr>
          <p:cNvSpPr txBox="1"/>
          <p:nvPr/>
        </p:nvSpPr>
        <p:spPr>
          <a:xfrm>
            <a:off x="7220952" y="5295886"/>
            <a:ext cx="1511228"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nSpc>
                <a:spcPct val="90000"/>
              </a:lnSpc>
              <a:buNone/>
            </a:pPr>
            <a:r>
              <a:rPr lang="en-US" sz="1400" b="1">
                <a:latin typeface="Arial"/>
                <a:cs typeface="Arial"/>
              </a:rPr>
              <a:t>Minimally Invasive</a:t>
            </a:r>
            <a:endParaRPr lang="en-US">
              <a:latin typeface="Arial"/>
              <a:cs typeface="Arial"/>
            </a:endParaRPr>
          </a:p>
        </p:txBody>
      </p:sp>
      <p:sp>
        <p:nvSpPr>
          <p:cNvPr id="10" name="TextBox 7">
            <a:extLst>
              <a:ext uri="{FF2B5EF4-FFF2-40B4-BE49-F238E27FC236}">
                <a16:creationId xmlns:a16="http://schemas.microsoft.com/office/drawing/2014/main" id="{B12981A8-AE90-4116-AB07-D5BEB5F8B50E}"/>
              </a:ext>
            </a:extLst>
          </p:cNvPr>
          <p:cNvSpPr txBox="1"/>
          <p:nvPr/>
        </p:nvSpPr>
        <p:spPr>
          <a:xfrm>
            <a:off x="768544" y="5814485"/>
            <a:ext cx="1485300" cy="480131"/>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lnSpc>
                <a:spcPct val="90000"/>
              </a:lnSpc>
              <a:buNone/>
            </a:pPr>
            <a:r>
              <a:rPr lang="en-US" sz="1400" b="1">
                <a:latin typeface="Arial"/>
                <a:cs typeface="Arial"/>
              </a:rPr>
              <a:t>Via </a:t>
            </a:r>
            <a:r>
              <a:rPr lang="en-US" sz="1400" b="1" err="1">
                <a:latin typeface="Arial"/>
                <a:cs typeface="Arial"/>
              </a:rPr>
              <a:t>teledentistry</a:t>
            </a:r>
            <a:r>
              <a:rPr lang="en-US" sz="1400" b="1">
                <a:latin typeface="Arial"/>
                <a:cs typeface="Arial"/>
              </a:rPr>
              <a:t> </a:t>
            </a:r>
            <a:endParaRPr lang="en-US">
              <a:latin typeface="Arial"/>
              <a:cs typeface="Arial"/>
            </a:endParaRPr>
          </a:p>
        </p:txBody>
      </p:sp>
      <p:sp>
        <p:nvSpPr>
          <p:cNvPr id="11" name="Rounded Rectangle 3">
            <a:extLst>
              <a:ext uri="{FF2B5EF4-FFF2-40B4-BE49-F238E27FC236}">
                <a16:creationId xmlns:a16="http://schemas.microsoft.com/office/drawing/2014/main" id="{2C7C828B-D372-4F5A-BC81-6EFB63B31F33}"/>
              </a:ext>
            </a:extLst>
          </p:cNvPr>
          <p:cNvSpPr/>
          <p:nvPr/>
        </p:nvSpPr>
        <p:spPr>
          <a:xfrm>
            <a:off x="1418082" y="1363023"/>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Initiate and consent for </a:t>
            </a:r>
            <a:r>
              <a:rPr lang="en-US" sz="1050" err="1"/>
              <a:t>teledental</a:t>
            </a:r>
            <a:r>
              <a:rPr lang="en-US" sz="1050"/>
              <a:t> visit</a:t>
            </a:r>
            <a:endParaRPr lang="en-US"/>
          </a:p>
        </p:txBody>
      </p:sp>
      <p:sp>
        <p:nvSpPr>
          <p:cNvPr id="12" name="Rectangle 11">
            <a:extLst>
              <a:ext uri="{FF2B5EF4-FFF2-40B4-BE49-F238E27FC236}">
                <a16:creationId xmlns:a16="http://schemas.microsoft.com/office/drawing/2014/main" id="{13A21C6E-95D2-4A80-9D86-E72DE5DF1DCC}"/>
              </a:ext>
            </a:extLst>
          </p:cNvPr>
          <p:cNvSpPr/>
          <p:nvPr/>
        </p:nvSpPr>
        <p:spPr>
          <a:xfrm>
            <a:off x="4523023" y="1334888"/>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Review, update</a:t>
            </a:r>
            <a:br>
              <a:rPr lang="en-US" sz="1050"/>
            </a:br>
            <a:r>
              <a:rPr lang="en-US" sz="1050"/>
              <a:t>clinical records</a:t>
            </a:r>
            <a:endParaRPr lang="en-US"/>
          </a:p>
        </p:txBody>
      </p:sp>
      <p:sp>
        <p:nvSpPr>
          <p:cNvPr id="13" name="Rectangle 12">
            <a:extLst>
              <a:ext uri="{FF2B5EF4-FFF2-40B4-BE49-F238E27FC236}">
                <a16:creationId xmlns:a16="http://schemas.microsoft.com/office/drawing/2014/main" id="{529BB0ED-8A29-4667-9D53-D0708A4E42E8}"/>
              </a:ext>
            </a:extLst>
          </p:cNvPr>
          <p:cNvSpPr/>
          <p:nvPr/>
        </p:nvSpPr>
        <p:spPr>
          <a:xfrm>
            <a:off x="4523023" y="2016959"/>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llect today’s records: </a:t>
            </a:r>
            <a:br>
              <a:rPr lang="en-US" sz="1050"/>
            </a:br>
            <a:r>
              <a:rPr lang="en-US" sz="1050"/>
              <a:t>via interview, photos/video</a:t>
            </a:r>
            <a:endParaRPr lang="en-US"/>
          </a:p>
        </p:txBody>
      </p:sp>
      <p:sp>
        <p:nvSpPr>
          <p:cNvPr id="14" name="Rectangle 13">
            <a:extLst>
              <a:ext uri="{FF2B5EF4-FFF2-40B4-BE49-F238E27FC236}">
                <a16:creationId xmlns:a16="http://schemas.microsoft.com/office/drawing/2014/main" id="{2AF95A4B-97C5-4D50-B641-57B3552E9029}"/>
              </a:ext>
            </a:extLst>
          </p:cNvPr>
          <p:cNvSpPr/>
          <p:nvPr/>
        </p:nvSpPr>
        <p:spPr>
          <a:xfrm>
            <a:off x="4523023" y="2699030"/>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creen, assess</a:t>
            </a:r>
            <a:br>
              <a:rPr lang="en-US" sz="1050"/>
            </a:br>
            <a:r>
              <a:rPr lang="en-US" sz="1050"/>
              <a:t>or triage</a:t>
            </a:r>
            <a:endParaRPr lang="en-US"/>
          </a:p>
        </p:txBody>
      </p:sp>
      <p:sp>
        <p:nvSpPr>
          <p:cNvPr id="15" name="Rectangle 14">
            <a:extLst>
              <a:ext uri="{FF2B5EF4-FFF2-40B4-BE49-F238E27FC236}">
                <a16:creationId xmlns:a16="http://schemas.microsoft.com/office/drawing/2014/main" id="{B81AB37F-CD90-435B-AC65-48CAA510420E}"/>
              </a:ext>
            </a:extLst>
          </p:cNvPr>
          <p:cNvSpPr/>
          <p:nvPr/>
        </p:nvSpPr>
        <p:spPr>
          <a:xfrm>
            <a:off x="9106737" y="1231896"/>
            <a:ext cx="1639281" cy="4822655"/>
          </a:xfrm>
          <a:prstGeom prst="rect">
            <a:avLst/>
          </a:prstGeom>
          <a:noFill/>
          <a:ln w="41275">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91440" tIns="182880" rIns="91440"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solidFill>
                  <a:schemeClr val="tx1"/>
                </a:solidFill>
              </a:rPr>
              <a:t>Varies based on diagnosis and patient preferences</a:t>
            </a:r>
            <a:endParaRPr lang="en-US">
              <a:solidFill>
                <a:schemeClr val="tx1"/>
              </a:solidFill>
            </a:endParaRPr>
          </a:p>
        </p:txBody>
      </p:sp>
      <p:sp>
        <p:nvSpPr>
          <p:cNvPr id="16" name="Rectangle 15">
            <a:extLst>
              <a:ext uri="{FF2B5EF4-FFF2-40B4-BE49-F238E27FC236}">
                <a16:creationId xmlns:a16="http://schemas.microsoft.com/office/drawing/2014/main" id="{AE124BA3-5DC2-42B8-8E54-9A3D5E9226D3}"/>
              </a:ext>
            </a:extLst>
          </p:cNvPr>
          <p:cNvSpPr/>
          <p:nvPr/>
        </p:nvSpPr>
        <p:spPr>
          <a:xfrm>
            <a:off x="8861727" y="2002528"/>
            <a:ext cx="148530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aries Risk Assessment</a:t>
            </a:r>
            <a:endParaRPr lang="en-US"/>
          </a:p>
        </p:txBody>
      </p:sp>
      <p:sp>
        <p:nvSpPr>
          <p:cNvPr id="17" name="Rectangle 16">
            <a:extLst>
              <a:ext uri="{FF2B5EF4-FFF2-40B4-BE49-F238E27FC236}">
                <a16:creationId xmlns:a16="http://schemas.microsoft.com/office/drawing/2014/main" id="{CB440631-8E64-4922-AD70-BEACA287AD22}"/>
              </a:ext>
            </a:extLst>
          </p:cNvPr>
          <p:cNvSpPr/>
          <p:nvPr/>
        </p:nvSpPr>
        <p:spPr>
          <a:xfrm>
            <a:off x="8861727" y="2684599"/>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OTC or Rx Medication</a:t>
            </a:r>
            <a:endParaRPr lang="en-US"/>
          </a:p>
        </p:txBody>
      </p:sp>
      <p:sp>
        <p:nvSpPr>
          <p:cNvPr id="18" name="Rectangle 17">
            <a:extLst>
              <a:ext uri="{FF2B5EF4-FFF2-40B4-BE49-F238E27FC236}">
                <a16:creationId xmlns:a16="http://schemas.microsoft.com/office/drawing/2014/main" id="{D8759982-1589-48F6-A692-D9EFEF426CEE}"/>
              </a:ext>
            </a:extLst>
          </p:cNvPr>
          <p:cNvSpPr/>
          <p:nvPr/>
        </p:nvSpPr>
        <p:spPr>
          <a:xfrm>
            <a:off x="8861727" y="3366670"/>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Management Goals</a:t>
            </a:r>
            <a:endParaRPr lang="en-US"/>
          </a:p>
        </p:txBody>
      </p:sp>
      <p:sp>
        <p:nvSpPr>
          <p:cNvPr id="19" name="Rectangle 18">
            <a:extLst>
              <a:ext uri="{FF2B5EF4-FFF2-40B4-BE49-F238E27FC236}">
                <a16:creationId xmlns:a16="http://schemas.microsoft.com/office/drawing/2014/main" id="{859126D6-0595-4EA3-8EDF-B5DF5131C230}"/>
              </a:ext>
            </a:extLst>
          </p:cNvPr>
          <p:cNvSpPr/>
          <p:nvPr/>
        </p:nvSpPr>
        <p:spPr>
          <a:xfrm>
            <a:off x="8861727" y="4076875"/>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Patient Education</a:t>
            </a:r>
            <a:endParaRPr lang="en-US"/>
          </a:p>
        </p:txBody>
      </p:sp>
      <p:sp>
        <p:nvSpPr>
          <p:cNvPr id="20" name="Rectangle 19">
            <a:extLst>
              <a:ext uri="{FF2B5EF4-FFF2-40B4-BE49-F238E27FC236}">
                <a16:creationId xmlns:a16="http://schemas.microsoft.com/office/drawing/2014/main" id="{0A1306C2-B677-45F9-BE43-1015919CB2D9}"/>
              </a:ext>
            </a:extLst>
          </p:cNvPr>
          <p:cNvSpPr/>
          <p:nvPr/>
        </p:nvSpPr>
        <p:spPr>
          <a:xfrm>
            <a:off x="8861727" y="4758946"/>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Care Tips</a:t>
            </a:r>
            <a:endParaRPr lang="en-US"/>
          </a:p>
        </p:txBody>
      </p:sp>
      <p:sp>
        <p:nvSpPr>
          <p:cNvPr id="21" name="Rectangle 20">
            <a:extLst>
              <a:ext uri="{FF2B5EF4-FFF2-40B4-BE49-F238E27FC236}">
                <a16:creationId xmlns:a16="http://schemas.microsoft.com/office/drawing/2014/main" id="{9E9652D0-7EEA-4AD1-9ECF-482E6117E578}"/>
              </a:ext>
            </a:extLst>
          </p:cNvPr>
          <p:cNvSpPr/>
          <p:nvPr/>
        </p:nvSpPr>
        <p:spPr>
          <a:xfrm>
            <a:off x="8861727" y="5441018"/>
            <a:ext cx="148530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VID-19 Care Plan</a:t>
            </a:r>
            <a:endParaRPr lang="en-US"/>
          </a:p>
        </p:txBody>
      </p:sp>
      <p:sp>
        <p:nvSpPr>
          <p:cNvPr id="22" name="Diamond 21">
            <a:extLst>
              <a:ext uri="{FF2B5EF4-FFF2-40B4-BE49-F238E27FC236}">
                <a16:creationId xmlns:a16="http://schemas.microsoft.com/office/drawing/2014/main" id="{88657DEF-EF0A-483D-AA86-1E659508783A}"/>
              </a:ext>
            </a:extLst>
          </p:cNvPr>
          <p:cNvSpPr/>
          <p:nvPr/>
        </p:nvSpPr>
        <p:spPr>
          <a:xfrm>
            <a:off x="4371464" y="3350472"/>
            <a:ext cx="2006791" cy="814974"/>
          </a:xfrm>
          <a:prstGeom prst="diamond">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wrap="none"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a:t>
            </a:r>
            <a:br>
              <a:rPr lang="en-US" sz="1050"/>
            </a:br>
            <a:r>
              <a:rPr lang="en-US" sz="1050"/>
              <a:t>if in-person visit </a:t>
            </a:r>
            <a:br>
              <a:rPr lang="en-US" sz="1050"/>
            </a:br>
            <a:r>
              <a:rPr lang="en-US" sz="1050"/>
              <a:t>is needed</a:t>
            </a:r>
            <a:endParaRPr lang="en-US"/>
          </a:p>
        </p:txBody>
      </p:sp>
      <p:sp>
        <p:nvSpPr>
          <p:cNvPr id="23" name="Rectangle 22">
            <a:extLst>
              <a:ext uri="{FF2B5EF4-FFF2-40B4-BE49-F238E27FC236}">
                <a16:creationId xmlns:a16="http://schemas.microsoft.com/office/drawing/2014/main" id="{3AA68C7C-263A-4AA8-A7D7-3A23CBE13803}"/>
              </a:ext>
            </a:extLst>
          </p:cNvPr>
          <p:cNvSpPr/>
          <p:nvPr/>
        </p:nvSpPr>
        <p:spPr>
          <a:xfrm>
            <a:off x="4523023" y="4557344"/>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termine visit type </a:t>
            </a:r>
            <a:br>
              <a:rPr lang="en-US" sz="1050"/>
            </a:br>
            <a:r>
              <a:rPr lang="en-US" sz="1050"/>
              <a:t>and location</a:t>
            </a:r>
            <a:endParaRPr lang="en-US"/>
          </a:p>
        </p:txBody>
      </p:sp>
      <p:sp>
        <p:nvSpPr>
          <p:cNvPr id="24" name="Rectangle 23">
            <a:extLst>
              <a:ext uri="{FF2B5EF4-FFF2-40B4-BE49-F238E27FC236}">
                <a16:creationId xmlns:a16="http://schemas.microsoft.com/office/drawing/2014/main" id="{DD6CC340-1E77-45B3-A842-18F73163ADA9}"/>
              </a:ext>
            </a:extLst>
          </p:cNvPr>
          <p:cNvSpPr/>
          <p:nvPr/>
        </p:nvSpPr>
        <p:spPr>
          <a:xfrm>
            <a:off x="5369144" y="5290427"/>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Dental office visit</a:t>
            </a:r>
            <a:endParaRPr lang="en-US"/>
          </a:p>
        </p:txBody>
      </p:sp>
      <p:sp>
        <p:nvSpPr>
          <p:cNvPr id="25" name="Rectangle 24">
            <a:extLst>
              <a:ext uri="{FF2B5EF4-FFF2-40B4-BE49-F238E27FC236}">
                <a16:creationId xmlns:a16="http://schemas.microsoft.com/office/drawing/2014/main" id="{8CC2E127-6443-45BB-80BC-0D25D50F7519}"/>
              </a:ext>
            </a:extLst>
          </p:cNvPr>
          <p:cNvSpPr/>
          <p:nvPr/>
        </p:nvSpPr>
        <p:spPr>
          <a:xfrm>
            <a:off x="5367876" y="6023510"/>
            <a:ext cx="1692240" cy="553108"/>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onsider minimally invasive or low aerosol-producing procedures</a:t>
            </a:r>
            <a:endParaRPr lang="en-US"/>
          </a:p>
        </p:txBody>
      </p:sp>
      <p:sp>
        <p:nvSpPr>
          <p:cNvPr id="26" name="Rectangle 25">
            <a:extLst>
              <a:ext uri="{FF2B5EF4-FFF2-40B4-BE49-F238E27FC236}">
                <a16:creationId xmlns:a16="http://schemas.microsoft.com/office/drawing/2014/main" id="{29833A2B-1520-45EB-B0B7-9D2B8E5ADB47}"/>
              </a:ext>
            </a:extLst>
          </p:cNvPr>
          <p:cNvSpPr/>
          <p:nvPr/>
        </p:nvSpPr>
        <p:spPr>
          <a:xfrm>
            <a:off x="3504914" y="5290427"/>
            <a:ext cx="1692240" cy="55310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Refer to medical professional or ED </a:t>
            </a:r>
            <a:br>
              <a:rPr lang="en-US" sz="1050"/>
            </a:br>
            <a:r>
              <a:rPr lang="en-US" sz="1050"/>
              <a:t>if needed</a:t>
            </a:r>
            <a:endParaRPr lang="en-US"/>
          </a:p>
        </p:txBody>
      </p:sp>
      <p:sp>
        <p:nvSpPr>
          <p:cNvPr id="27" name="Rounded Rectangle 29">
            <a:extLst>
              <a:ext uri="{FF2B5EF4-FFF2-40B4-BE49-F238E27FC236}">
                <a16:creationId xmlns:a16="http://schemas.microsoft.com/office/drawing/2014/main" id="{5F1328BC-8D9C-45BE-B2BD-A97924A63A6D}"/>
              </a:ext>
            </a:extLst>
          </p:cNvPr>
          <p:cNvSpPr/>
          <p:nvPr/>
        </p:nvSpPr>
        <p:spPr>
          <a:xfrm>
            <a:off x="1418082" y="5290427"/>
            <a:ext cx="1485299" cy="553108"/>
          </a:xfrm>
          <a:prstGeom prst="roundRect">
            <a:avLst>
              <a:gd name="adj" fmla="val 50000"/>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chedule for next visit or refer</a:t>
            </a:r>
            <a:endParaRPr lang="en-US"/>
          </a:p>
        </p:txBody>
      </p:sp>
      <p:cxnSp>
        <p:nvCxnSpPr>
          <p:cNvPr id="28" name="Straight Arrow Connector 27">
            <a:extLst>
              <a:ext uri="{FF2B5EF4-FFF2-40B4-BE49-F238E27FC236}">
                <a16:creationId xmlns:a16="http://schemas.microsoft.com/office/drawing/2014/main" id="{56180A23-A740-4683-94DC-052BE1A5A3E8}"/>
              </a:ext>
            </a:extLst>
          </p:cNvPr>
          <p:cNvCxnSpPr>
            <a:cxnSpLocks/>
          </p:cNvCxnSpPr>
          <p:nvPr/>
        </p:nvCxnSpPr>
        <p:spPr>
          <a:xfrm flipV="1">
            <a:off x="2903381" y="1639506"/>
            <a:ext cx="1550485" cy="71"/>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0" name="Straight Arrow Connector 29">
            <a:extLst>
              <a:ext uri="{FF2B5EF4-FFF2-40B4-BE49-F238E27FC236}">
                <a16:creationId xmlns:a16="http://schemas.microsoft.com/office/drawing/2014/main" id="{85367D22-2377-4D04-86C2-E9733D8D5859}"/>
              </a:ext>
            </a:extLst>
          </p:cNvPr>
          <p:cNvCxnSpPr/>
          <p:nvPr/>
        </p:nvCxnSpPr>
        <p:spPr>
          <a:xfrm>
            <a:off x="5369144" y="2569428"/>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1" name="Straight Arrow Connector 30">
            <a:extLst>
              <a:ext uri="{FF2B5EF4-FFF2-40B4-BE49-F238E27FC236}">
                <a16:creationId xmlns:a16="http://schemas.microsoft.com/office/drawing/2014/main" id="{8C4C2D64-1B78-4783-B8B3-3F0F7116EC01}"/>
              </a:ext>
            </a:extLst>
          </p:cNvPr>
          <p:cNvCxnSpPr/>
          <p:nvPr/>
        </p:nvCxnSpPr>
        <p:spPr>
          <a:xfrm>
            <a:off x="5369144" y="3245036"/>
            <a:ext cx="0" cy="128963"/>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2" name="Straight Arrow Connector 31">
            <a:extLst>
              <a:ext uri="{FF2B5EF4-FFF2-40B4-BE49-F238E27FC236}">
                <a16:creationId xmlns:a16="http://schemas.microsoft.com/office/drawing/2014/main" id="{4F3015ED-B58D-48D1-A9E7-314772158B24}"/>
              </a:ext>
            </a:extLst>
          </p:cNvPr>
          <p:cNvCxnSpPr>
            <a:cxnSpLocks/>
          </p:cNvCxnSpPr>
          <p:nvPr/>
        </p:nvCxnSpPr>
        <p:spPr>
          <a:xfrm flipH="1">
            <a:off x="4351034" y="5110452"/>
            <a:ext cx="1018109" cy="17997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33" name="Straight Arrow Connector 32">
            <a:extLst>
              <a:ext uri="{FF2B5EF4-FFF2-40B4-BE49-F238E27FC236}">
                <a16:creationId xmlns:a16="http://schemas.microsoft.com/office/drawing/2014/main" id="{883D7913-A7A6-40C1-915B-8BFB5EA47A2E}"/>
              </a:ext>
            </a:extLst>
          </p:cNvPr>
          <p:cNvCxnSpPr>
            <a:cxnSpLocks/>
          </p:cNvCxnSpPr>
          <p:nvPr/>
        </p:nvCxnSpPr>
        <p:spPr>
          <a:xfrm>
            <a:off x="5369144" y="5110452"/>
            <a:ext cx="846120" cy="179975"/>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37" name="TextBox 34">
            <a:extLst>
              <a:ext uri="{FF2B5EF4-FFF2-40B4-BE49-F238E27FC236}">
                <a16:creationId xmlns:a16="http://schemas.microsoft.com/office/drawing/2014/main" id="{F768AE1C-655A-4E0B-B785-0E366502CAD6}"/>
              </a:ext>
            </a:extLst>
          </p:cNvPr>
          <p:cNvSpPr txBox="1"/>
          <p:nvPr/>
        </p:nvSpPr>
        <p:spPr>
          <a:xfrm>
            <a:off x="5438434" y="4190357"/>
            <a:ext cx="553357" cy="276999"/>
          </a:xfrm>
          <a:prstGeom prst="rect">
            <a:avLst/>
          </a:prstGeom>
          <a:noFill/>
        </p:spPr>
        <p:txBody>
          <a:bodyPr wrap="non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If yes</a:t>
            </a:r>
            <a:endParaRPr lang="en-US"/>
          </a:p>
        </p:txBody>
      </p:sp>
      <p:sp>
        <p:nvSpPr>
          <p:cNvPr id="38" name="TextBox 35">
            <a:extLst>
              <a:ext uri="{FF2B5EF4-FFF2-40B4-BE49-F238E27FC236}">
                <a16:creationId xmlns:a16="http://schemas.microsoft.com/office/drawing/2014/main" id="{7102E250-F4B0-4EFD-8534-65B587720285}"/>
              </a:ext>
            </a:extLst>
          </p:cNvPr>
          <p:cNvSpPr txBox="1"/>
          <p:nvPr/>
        </p:nvSpPr>
        <p:spPr>
          <a:xfrm>
            <a:off x="7010665" y="3604874"/>
            <a:ext cx="380232" cy="276999"/>
          </a:xfrm>
          <a:prstGeom prst="rect">
            <a:avLst/>
          </a:prstGeom>
          <a:solidFill>
            <a:schemeClr val="bg1"/>
          </a:solidFill>
        </p:spPr>
        <p:txBody>
          <a:bodyPr wrap="non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No</a:t>
            </a:r>
            <a:endParaRPr lang="en-US"/>
          </a:p>
        </p:txBody>
      </p:sp>
      <p:cxnSp>
        <p:nvCxnSpPr>
          <p:cNvPr id="39" name="Straight Arrow Connector 38">
            <a:extLst>
              <a:ext uri="{FF2B5EF4-FFF2-40B4-BE49-F238E27FC236}">
                <a16:creationId xmlns:a16="http://schemas.microsoft.com/office/drawing/2014/main" id="{1D6FF747-63B3-414B-8DF4-2B5400C2A3FC}"/>
              </a:ext>
            </a:extLst>
          </p:cNvPr>
          <p:cNvCxnSpPr>
            <a:cxnSpLocks/>
          </p:cNvCxnSpPr>
          <p:nvPr/>
        </p:nvCxnSpPr>
        <p:spPr>
          <a:xfrm flipH="1">
            <a:off x="2903381" y="5538846"/>
            <a:ext cx="601534" cy="0"/>
          </a:xfrm>
          <a:prstGeom prst="straightConnector1">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40" name="Elbow Connector 67">
            <a:extLst>
              <a:ext uri="{FF2B5EF4-FFF2-40B4-BE49-F238E27FC236}">
                <a16:creationId xmlns:a16="http://schemas.microsoft.com/office/drawing/2014/main" id="{A339A679-1AC3-4F79-881B-DC648B114A2C}"/>
              </a:ext>
            </a:extLst>
          </p:cNvPr>
          <p:cNvCxnSpPr>
            <a:cxnSpLocks/>
          </p:cNvCxnSpPr>
          <p:nvPr/>
        </p:nvCxnSpPr>
        <p:spPr>
          <a:xfrm flipV="1">
            <a:off x="6215263" y="3847763"/>
            <a:ext cx="2226268" cy="986135"/>
          </a:xfrm>
          <a:prstGeom prst="bentConnector3">
            <a:avLst>
              <a:gd name="adj1" fmla="val 100070"/>
            </a:avLst>
          </a:prstGeom>
          <a:ln w="19050">
            <a:solidFill>
              <a:schemeClr val="bg2">
                <a:lumMod val="75000"/>
              </a:schemeClr>
            </a:solidFill>
            <a:tailEnd type="triangle"/>
          </a:ln>
          <a:effectLst/>
        </p:spPr>
        <p:style>
          <a:lnRef idx="2">
            <a:schemeClr val="accent1"/>
          </a:lnRef>
          <a:fillRef idx="0">
            <a:schemeClr val="accent1"/>
          </a:fillRef>
          <a:effectRef idx="1">
            <a:schemeClr val="accent1"/>
          </a:effectRef>
          <a:fontRef idx="minor">
            <a:schemeClr val="tx1"/>
          </a:fontRef>
        </p:style>
      </p:cxnSp>
      <p:sp>
        <p:nvSpPr>
          <p:cNvPr id="41" name="TextBox 38">
            <a:extLst>
              <a:ext uri="{FF2B5EF4-FFF2-40B4-BE49-F238E27FC236}">
                <a16:creationId xmlns:a16="http://schemas.microsoft.com/office/drawing/2014/main" id="{DA5341D6-FF38-4920-A003-A4160D9962BE}"/>
              </a:ext>
            </a:extLst>
          </p:cNvPr>
          <p:cNvSpPr txBox="1"/>
          <p:nvPr/>
        </p:nvSpPr>
        <p:spPr>
          <a:xfrm>
            <a:off x="6313309" y="4538094"/>
            <a:ext cx="2415769" cy="276999"/>
          </a:xfrm>
          <a:prstGeom prst="rect">
            <a:avLst/>
          </a:prstGeom>
          <a:noFill/>
        </p:spPr>
        <p:txBody>
          <a:bodyPr wrap="square" lIns="91440" tIns="45720" rIns="91440" bIns="45720" rtlCol="0" anchor="t">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indent="0">
              <a:buNone/>
            </a:pPr>
            <a:r>
              <a:rPr lang="en-US" sz="1200"/>
              <a:t>Care plan until in-office visit</a:t>
            </a:r>
            <a:endParaRPr lang="en-US"/>
          </a:p>
        </p:txBody>
      </p:sp>
      <p:sp>
        <p:nvSpPr>
          <p:cNvPr id="2" name="Explosion: 8 Points 1">
            <a:extLst>
              <a:ext uri="{FF2B5EF4-FFF2-40B4-BE49-F238E27FC236}">
                <a16:creationId xmlns:a16="http://schemas.microsoft.com/office/drawing/2014/main" id="{4258E63E-FD47-4B2C-86E8-E8EB717E50D0}"/>
              </a:ext>
            </a:extLst>
          </p:cNvPr>
          <p:cNvSpPr/>
          <p:nvPr/>
        </p:nvSpPr>
        <p:spPr>
          <a:xfrm rot="1740000">
            <a:off x="9552821" y="383415"/>
            <a:ext cx="1877683" cy="1144436"/>
          </a:xfrm>
          <a:prstGeom prst="irregularSeal1">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indent="0" algn="ctr">
              <a:buNone/>
            </a:pPr>
            <a:r>
              <a:rPr lang="en-US" sz="1400">
                <a:solidFill>
                  <a:schemeClr val="tx1"/>
                </a:solidFill>
                <a:cs typeface="Arial" panose="020B0604020202020204"/>
              </a:rPr>
              <a:t>Prevention</a:t>
            </a:r>
          </a:p>
        </p:txBody>
      </p:sp>
      <p:cxnSp>
        <p:nvCxnSpPr>
          <p:cNvPr id="48" name="Straight Arrow Connector 47">
            <a:extLst>
              <a:ext uri="{FF2B5EF4-FFF2-40B4-BE49-F238E27FC236}">
                <a16:creationId xmlns:a16="http://schemas.microsoft.com/office/drawing/2014/main" id="{8C4058D2-B1F2-48D3-8DDF-F54AA0062EBE}"/>
              </a:ext>
            </a:extLst>
          </p:cNvPr>
          <p:cNvCxnSpPr>
            <a:cxnSpLocks/>
          </p:cNvCxnSpPr>
          <p:nvPr/>
        </p:nvCxnSpPr>
        <p:spPr>
          <a:xfrm flipH="1">
            <a:off x="7074494" y="5861346"/>
            <a:ext cx="1801610" cy="582492"/>
          </a:xfrm>
          <a:prstGeom prst="straightConnector1">
            <a:avLst/>
          </a:prstGeom>
          <a:ln w="19050">
            <a:solidFill>
              <a:schemeClr val="bg2"/>
            </a:solidFill>
            <a:tailEnd type="triangl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72510451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EBE25EC9-D470-4BD9-A6F3-29593A0A0B50}"/>
              </a:ext>
            </a:extLst>
          </p:cNvPr>
          <p:cNvSpPr/>
          <p:nvPr/>
        </p:nvSpPr>
        <p:spPr>
          <a:xfrm>
            <a:off x="-4012" y="1143705"/>
            <a:ext cx="12192000" cy="4533195"/>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itle 4">
            <a:extLst>
              <a:ext uri="{FF2B5EF4-FFF2-40B4-BE49-F238E27FC236}">
                <a16:creationId xmlns:a16="http://schemas.microsoft.com/office/drawing/2014/main" id="{494FDC3F-CDD6-40C1-9FB9-0D0C6102BA4B}"/>
              </a:ext>
            </a:extLst>
          </p:cNvPr>
          <p:cNvSpPr txBox="1">
            <a:spLocks/>
          </p:cNvSpPr>
          <p:nvPr/>
        </p:nvSpPr>
        <p:spPr>
          <a:xfrm>
            <a:off x="502920" y="457200"/>
            <a:ext cx="10835640" cy="914400"/>
          </a:xfrm>
          <a:prstGeom prst="rect">
            <a:avLst/>
          </a:prstGeom>
        </p:spPr>
        <p:txBody>
          <a:bodyPr lIns="91440" tIns="45720" rIns="91440" bIns="45720" anchor="t"/>
          <a:lstStyle>
            <a:lvl1pPr algn="l" defTabSz="457200" rtl="0" eaLnBrk="1" latinLnBrk="0" hangingPunct="1">
              <a:spcBef>
                <a:spcPct val="0"/>
              </a:spcBef>
              <a:buNone/>
              <a:defRPr sz="2800" b="1" i="0" kern="1200">
                <a:solidFill>
                  <a:schemeClr val="tx2"/>
                </a:solidFill>
                <a:latin typeface="+mj-lt"/>
                <a:ea typeface="+mj-ea"/>
                <a:cs typeface="+mj-cs"/>
              </a:defRPr>
            </a:lvl1pPr>
          </a:lstStyle>
          <a:p>
            <a:r>
              <a:rPr lang="en-US" err="1">
                <a:cs typeface="Arial"/>
              </a:rPr>
              <a:t>Teledentistry</a:t>
            </a:r>
            <a:r>
              <a:rPr lang="en-US">
                <a:cs typeface="Arial"/>
              </a:rPr>
              <a:t> Platforms</a:t>
            </a:r>
          </a:p>
        </p:txBody>
      </p:sp>
      <p:sp>
        <p:nvSpPr>
          <p:cNvPr id="14" name="Content Placeholder 5">
            <a:extLst>
              <a:ext uri="{FF2B5EF4-FFF2-40B4-BE49-F238E27FC236}">
                <a16:creationId xmlns:a16="http://schemas.microsoft.com/office/drawing/2014/main" id="{2F3426DB-3714-495C-A992-7878CDB47940}"/>
              </a:ext>
            </a:extLst>
          </p:cNvPr>
          <p:cNvSpPr txBox="1">
            <a:spLocks/>
          </p:cNvSpPr>
          <p:nvPr/>
        </p:nvSpPr>
        <p:spPr>
          <a:xfrm>
            <a:off x="1872049" y="4437714"/>
            <a:ext cx="3601097" cy="1465771"/>
          </a:xfrm>
          <a:prstGeom prst="rect">
            <a:avLst/>
          </a:prstGeom>
        </p:spPr>
        <p:txBody>
          <a:bodyPr vert="horz" lIns="0" tIns="45720" rIns="0" bIns="45720" rtlCol="0" anchor="t">
            <a:noAutofit/>
          </a:bodyPr>
          <a:lstStyle>
            <a:lvl1pPr marL="0" indent="0" algn="l" defTabSz="457200" rtl="0" eaLnBrk="1" latinLnBrk="0" hangingPunct="1">
              <a:spcBef>
                <a:spcPts val="1200"/>
              </a:spcBef>
              <a:buFont typeface="Arial"/>
              <a:buNone/>
              <a:defRPr sz="2400" kern="1200">
                <a:solidFill>
                  <a:schemeClr val="tx1"/>
                </a:solidFill>
                <a:latin typeface="+mn-lt"/>
                <a:ea typeface="+mn-ea"/>
                <a:cs typeface="+mn-cs"/>
              </a:defRPr>
            </a:lvl1pPr>
            <a:lvl2pPr marL="742950" indent="-285750" algn="l" defTabSz="457200" rtl="0" eaLnBrk="1" latinLnBrk="0" hangingPunct="1">
              <a:spcBef>
                <a:spcPts val="1200"/>
              </a:spcBef>
              <a:buFont typeface="Arial" panose="020B0604020202020204" pitchFamily="34" charset="0"/>
              <a:buChar char="•"/>
              <a:defRPr sz="2200" kern="1200">
                <a:solidFill>
                  <a:schemeClr val="tx1"/>
                </a:solidFill>
                <a:latin typeface="+mn-lt"/>
                <a:ea typeface="+mn-ea"/>
                <a:cs typeface="+mn-cs"/>
              </a:defRPr>
            </a:lvl2pPr>
            <a:lvl3pPr marL="1143000" indent="-228600" algn="l" defTabSz="457200" rtl="0" eaLnBrk="1" latinLnBrk="0" hangingPunct="1">
              <a:spcBef>
                <a:spcPts val="1200"/>
              </a:spcBef>
              <a:buFont typeface=".AppleSystemUIFont"/>
              <a:buChar char="–"/>
              <a:defRPr sz="2000" kern="1200">
                <a:solidFill>
                  <a:schemeClr val="tx1"/>
                </a:solidFill>
                <a:latin typeface="+mn-lt"/>
                <a:ea typeface="+mn-ea"/>
                <a:cs typeface="+mn-cs"/>
              </a:defRPr>
            </a:lvl3pPr>
            <a:lvl4pPr marL="1600200" indent="-228600" algn="l" defTabSz="457200" rtl="0" eaLnBrk="1" latinLnBrk="0" hangingPunct="1">
              <a:spcBef>
                <a:spcPts val="1200"/>
              </a:spcBef>
              <a:buFont typeface="Arial" panose="020B0604020202020204" pitchFamily="34" charset="0"/>
              <a:buChar char="•"/>
              <a:defRPr sz="1800" kern="1200">
                <a:solidFill>
                  <a:schemeClr val="tx1"/>
                </a:solidFill>
                <a:latin typeface="+mn-lt"/>
                <a:ea typeface="+mn-ea"/>
                <a:cs typeface="+mn-cs"/>
              </a:defRPr>
            </a:lvl4pPr>
            <a:lvl5pPr marL="2057400" indent="-228600" algn="l" defTabSz="457200" rtl="0" eaLnBrk="1" latinLnBrk="0" hangingPunct="1">
              <a:spcBef>
                <a:spcPts val="1200"/>
              </a:spcBef>
              <a:buFont typeface=".AppleSystemUIFont"/>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2500">
                <a:ea typeface="+mn-lt"/>
                <a:cs typeface="+mn-lt"/>
              </a:rPr>
              <a:t>Synchronous video calls </a:t>
            </a:r>
          </a:p>
          <a:p>
            <a:endParaRPr lang="en-US">
              <a:cs typeface="Arial"/>
            </a:endParaRPr>
          </a:p>
        </p:txBody>
      </p:sp>
      <p:pic>
        <p:nvPicPr>
          <p:cNvPr id="2052" name="Picture 4" descr="Webex rolls out new features Oct 22 - UW–⁠Madison Information Technology">
            <a:extLst>
              <a:ext uri="{FF2B5EF4-FFF2-40B4-BE49-F238E27FC236}">
                <a16:creationId xmlns:a16="http://schemas.microsoft.com/office/drawing/2014/main" id="{097F4A88-AF6C-4706-8A84-7013E3C7CEA4}"/>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24666" r="25555"/>
          <a:stretch/>
        </p:blipFill>
        <p:spPr bwMode="auto">
          <a:xfrm>
            <a:off x="2638364" y="2195648"/>
            <a:ext cx="2133918" cy="1905284"/>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Google Classroom Logo transparent PNG - StickPNG">
            <a:extLst>
              <a:ext uri="{FF2B5EF4-FFF2-40B4-BE49-F238E27FC236}">
                <a16:creationId xmlns:a16="http://schemas.microsoft.com/office/drawing/2014/main" id="{A24BE9B1-426C-4B4C-BF59-1001D405C64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84705" y="2195648"/>
            <a:ext cx="2468931" cy="1905284"/>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5">
            <a:extLst>
              <a:ext uri="{FF2B5EF4-FFF2-40B4-BE49-F238E27FC236}">
                <a16:creationId xmlns:a16="http://schemas.microsoft.com/office/drawing/2014/main" id="{9C5EE787-8026-4736-A457-C45455826EEC}"/>
              </a:ext>
            </a:extLst>
          </p:cNvPr>
          <p:cNvSpPr txBox="1">
            <a:spLocks/>
          </p:cNvSpPr>
          <p:nvPr/>
        </p:nvSpPr>
        <p:spPr>
          <a:xfrm>
            <a:off x="6530138" y="4437713"/>
            <a:ext cx="3601097" cy="1465771"/>
          </a:xfrm>
          <a:prstGeom prst="rect">
            <a:avLst/>
          </a:prstGeom>
        </p:spPr>
        <p:txBody>
          <a:bodyPr vert="horz" lIns="0" tIns="45720" rIns="0" bIns="45720" rtlCol="0" anchor="t">
            <a:noAutofit/>
          </a:bodyPr>
          <a:lstStyle>
            <a:lvl1pPr marL="0" indent="0" algn="l" defTabSz="457200" rtl="0" eaLnBrk="1" latinLnBrk="0" hangingPunct="1">
              <a:spcBef>
                <a:spcPts val="1200"/>
              </a:spcBef>
              <a:buFont typeface="Arial"/>
              <a:buNone/>
              <a:defRPr sz="2400" kern="1200">
                <a:solidFill>
                  <a:schemeClr val="tx1"/>
                </a:solidFill>
                <a:latin typeface="+mn-lt"/>
                <a:ea typeface="+mn-ea"/>
                <a:cs typeface="+mn-cs"/>
              </a:defRPr>
            </a:lvl1pPr>
            <a:lvl2pPr marL="742950" indent="-285750" algn="l" defTabSz="457200" rtl="0" eaLnBrk="1" latinLnBrk="0" hangingPunct="1">
              <a:spcBef>
                <a:spcPts val="1200"/>
              </a:spcBef>
              <a:buFont typeface="Arial" panose="020B0604020202020204" pitchFamily="34" charset="0"/>
              <a:buChar char="•"/>
              <a:defRPr sz="2200" kern="1200">
                <a:solidFill>
                  <a:schemeClr val="tx1"/>
                </a:solidFill>
                <a:latin typeface="+mn-lt"/>
                <a:ea typeface="+mn-ea"/>
                <a:cs typeface="+mn-cs"/>
              </a:defRPr>
            </a:lvl2pPr>
            <a:lvl3pPr marL="1143000" indent="-228600" algn="l" defTabSz="457200" rtl="0" eaLnBrk="1" latinLnBrk="0" hangingPunct="1">
              <a:spcBef>
                <a:spcPts val="1200"/>
              </a:spcBef>
              <a:buFont typeface=".AppleSystemUIFont"/>
              <a:buChar char="–"/>
              <a:defRPr sz="2000" kern="1200">
                <a:solidFill>
                  <a:schemeClr val="tx1"/>
                </a:solidFill>
                <a:latin typeface="+mn-lt"/>
                <a:ea typeface="+mn-ea"/>
                <a:cs typeface="+mn-cs"/>
              </a:defRPr>
            </a:lvl3pPr>
            <a:lvl4pPr marL="1600200" indent="-228600" algn="l" defTabSz="457200" rtl="0" eaLnBrk="1" latinLnBrk="0" hangingPunct="1">
              <a:spcBef>
                <a:spcPts val="1200"/>
              </a:spcBef>
              <a:buFont typeface="Arial" panose="020B0604020202020204" pitchFamily="34" charset="0"/>
              <a:buChar char="•"/>
              <a:defRPr sz="1800" kern="1200">
                <a:solidFill>
                  <a:schemeClr val="tx1"/>
                </a:solidFill>
                <a:latin typeface="+mn-lt"/>
                <a:ea typeface="+mn-ea"/>
                <a:cs typeface="+mn-cs"/>
              </a:defRPr>
            </a:lvl4pPr>
            <a:lvl5pPr marL="2057400" indent="-228600" algn="l" defTabSz="457200" rtl="0" eaLnBrk="1" latinLnBrk="0" hangingPunct="1">
              <a:spcBef>
                <a:spcPts val="1200"/>
              </a:spcBef>
              <a:buFont typeface=".AppleSystemUIFont"/>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2500">
                <a:ea typeface="+mn-lt"/>
                <a:cs typeface="+mn-lt"/>
              </a:rPr>
              <a:t>Group education </a:t>
            </a:r>
          </a:p>
          <a:p>
            <a:endParaRPr lang="en-US">
              <a:cs typeface="Arial"/>
            </a:endParaRPr>
          </a:p>
        </p:txBody>
      </p:sp>
    </p:spTree>
    <p:extLst>
      <p:ext uri="{BB962C8B-B14F-4D97-AF65-F5344CB8AC3E}">
        <p14:creationId xmlns:p14="http://schemas.microsoft.com/office/powerpoint/2010/main" val="142826157"/>
      </p:ext>
    </p:extLst>
  </p:cSld>
  <p:clrMapOvr>
    <a:masterClrMapping/>
  </p:clrMapOvr>
  <p:transition spd="med"/>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389B3-1CC8-4AE8-8380-8F61B9562176}"/>
              </a:ext>
            </a:extLst>
          </p:cNvPr>
          <p:cNvSpPr>
            <a:spLocks noGrp="1"/>
          </p:cNvSpPr>
          <p:nvPr>
            <p:ph type="title"/>
          </p:nvPr>
        </p:nvSpPr>
        <p:spPr/>
        <p:txBody>
          <a:bodyPr/>
          <a:lstStyle/>
          <a:p>
            <a:r>
              <a:rPr lang="en-US">
                <a:cs typeface="Arial"/>
              </a:rPr>
              <a:t>Medical-Dental Integration </a:t>
            </a:r>
            <a:endParaRPr lang="en-US"/>
          </a:p>
        </p:txBody>
      </p:sp>
      <p:sp>
        <p:nvSpPr>
          <p:cNvPr id="6" name="Rectangle 5">
            <a:extLst>
              <a:ext uri="{FF2B5EF4-FFF2-40B4-BE49-F238E27FC236}">
                <a16:creationId xmlns:a16="http://schemas.microsoft.com/office/drawing/2014/main" id="{9BC4FBB2-42B9-4283-B4A7-F40006424D04}"/>
              </a:ext>
            </a:extLst>
          </p:cNvPr>
          <p:cNvSpPr/>
          <p:nvPr/>
        </p:nvSpPr>
        <p:spPr>
          <a:xfrm>
            <a:off x="3982249" y="5491071"/>
            <a:ext cx="7880145" cy="769441"/>
          </a:xfrm>
          <a:prstGeom prst="rect">
            <a:avLst/>
          </a:prstGeom>
        </p:spPr>
        <p:txBody>
          <a:bodyPr wrap="square">
            <a:spAutoFit/>
          </a:bodyPr>
          <a:lstStyle/>
          <a:p>
            <a:r>
              <a:rPr lang="en-US" sz="2200">
                <a:cs typeface="Arial"/>
              </a:rPr>
              <a:t>If you are familiar with these platforms, what ways can you see them being used to provide patient care?</a:t>
            </a:r>
          </a:p>
        </p:txBody>
      </p:sp>
      <p:sp>
        <p:nvSpPr>
          <p:cNvPr id="7" name="Rectangle: Rounded Corners 6">
            <a:extLst>
              <a:ext uri="{FF2B5EF4-FFF2-40B4-BE49-F238E27FC236}">
                <a16:creationId xmlns:a16="http://schemas.microsoft.com/office/drawing/2014/main" id="{92865F1C-B2FE-48DB-858F-63484B294C4B}"/>
              </a:ext>
            </a:extLst>
          </p:cNvPr>
          <p:cNvSpPr/>
          <p:nvPr/>
        </p:nvSpPr>
        <p:spPr>
          <a:xfrm>
            <a:off x="177206" y="5501543"/>
            <a:ext cx="3652643" cy="820525"/>
          </a:xfrm>
          <a:prstGeom prst="roundRect">
            <a:avLst/>
          </a:prstGeom>
          <a:solidFill>
            <a:schemeClr val="tx2"/>
          </a:solidFill>
          <a:ln w="57150">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000">
              <a:ea typeface="+mn-lt"/>
              <a:cs typeface="+mn-lt"/>
            </a:endParaRPr>
          </a:p>
          <a:p>
            <a:pPr algn="ctr"/>
            <a:endParaRPr lang="en-US" sz="3000">
              <a:ea typeface="+mn-lt"/>
              <a:cs typeface="+mn-lt"/>
            </a:endParaRPr>
          </a:p>
          <a:p>
            <a:pPr algn="ctr"/>
            <a:endParaRPr lang="en-US" sz="3000">
              <a:ea typeface="+mn-lt"/>
              <a:cs typeface="+mn-lt"/>
            </a:endParaRPr>
          </a:p>
          <a:p>
            <a:pPr algn="ctr"/>
            <a:r>
              <a:rPr lang="en-US" sz="2400">
                <a:ea typeface="+mn-lt"/>
                <a:cs typeface="+mn-lt"/>
              </a:rPr>
              <a:t>Chat Question</a:t>
            </a:r>
            <a:endParaRPr lang="en-US" sz="2400">
              <a:cs typeface="Arial"/>
            </a:endParaRPr>
          </a:p>
          <a:p>
            <a:pPr algn="ctr"/>
            <a:endParaRPr lang="en-US" sz="3000">
              <a:cs typeface="Arial"/>
            </a:endParaRPr>
          </a:p>
          <a:p>
            <a:pPr algn="ctr"/>
            <a:endParaRPr lang="en-US" b="1">
              <a:ea typeface="+mn-lt"/>
              <a:cs typeface="+mn-lt"/>
            </a:endParaRPr>
          </a:p>
          <a:p>
            <a:endParaRPr lang="en-US">
              <a:cs typeface="Arial"/>
            </a:endParaRPr>
          </a:p>
          <a:p>
            <a:pPr>
              <a:buFont typeface="Arial"/>
            </a:pPr>
            <a:endParaRPr lang="en-US">
              <a:cs typeface="Arial"/>
            </a:endParaRPr>
          </a:p>
          <a:p>
            <a:pPr algn="ctr"/>
            <a:endParaRPr lang="en-US">
              <a:cs typeface="Arial"/>
            </a:endParaRPr>
          </a:p>
        </p:txBody>
      </p:sp>
      <p:sp>
        <p:nvSpPr>
          <p:cNvPr id="8" name="Rectangle 7">
            <a:extLst>
              <a:ext uri="{FF2B5EF4-FFF2-40B4-BE49-F238E27FC236}">
                <a16:creationId xmlns:a16="http://schemas.microsoft.com/office/drawing/2014/main" id="{E1AE5F10-5358-417E-97A6-15B97E951F19}"/>
              </a:ext>
            </a:extLst>
          </p:cNvPr>
          <p:cNvSpPr/>
          <p:nvPr/>
        </p:nvSpPr>
        <p:spPr>
          <a:xfrm>
            <a:off x="0" y="1371600"/>
            <a:ext cx="12192000" cy="3714045"/>
          </a:xfrm>
          <a:prstGeom prst="rect">
            <a:avLst/>
          </a:prstGeom>
          <a:solidFill>
            <a:srgbClr val="F6F6F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5" descr="A person sitting at a table using a computer&#10;&#10;Description automatically generated">
            <a:extLst>
              <a:ext uri="{FF2B5EF4-FFF2-40B4-BE49-F238E27FC236}">
                <a16:creationId xmlns:a16="http://schemas.microsoft.com/office/drawing/2014/main" id="{FCA99F3B-E128-4560-A1D8-25F78734AB80}"/>
              </a:ext>
            </a:extLst>
          </p:cNvPr>
          <p:cNvPicPr>
            <a:picLocks noChangeAspect="1"/>
          </p:cNvPicPr>
          <p:nvPr/>
        </p:nvPicPr>
        <p:blipFill>
          <a:blip r:embed="rId3"/>
          <a:stretch>
            <a:fillRect/>
          </a:stretch>
        </p:blipFill>
        <p:spPr>
          <a:xfrm>
            <a:off x="7723362" y="2138976"/>
            <a:ext cx="4219042" cy="2816921"/>
          </a:xfrm>
          <a:prstGeom prst="rect">
            <a:avLst/>
          </a:prstGeom>
        </p:spPr>
      </p:pic>
      <p:pic>
        <p:nvPicPr>
          <p:cNvPr id="3074" name="Picture 2" descr="privacy not included - Doxy.me">
            <a:extLst>
              <a:ext uri="{FF2B5EF4-FFF2-40B4-BE49-F238E27FC236}">
                <a16:creationId xmlns:a16="http://schemas.microsoft.com/office/drawing/2014/main" id="{732145DB-3032-4FCE-9A87-DD0AAF8DB718}"/>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t="35555" b="38049"/>
          <a:stretch/>
        </p:blipFill>
        <p:spPr bwMode="auto">
          <a:xfrm>
            <a:off x="8546199" y="1394526"/>
            <a:ext cx="2573368" cy="705738"/>
          </a:xfrm>
          <a:prstGeom prst="rect">
            <a:avLst/>
          </a:prstGeom>
          <a:noFill/>
          <a:extLst>
            <a:ext uri="{909E8E84-426E-40DD-AFC4-6F175D3DCCD1}">
              <a14:hiddenFill xmlns:a14="http://schemas.microsoft.com/office/drawing/2010/main">
                <a:solidFill>
                  <a:srgbClr val="FFFFFF"/>
                </a:solidFill>
              </a14:hiddenFill>
            </a:ext>
          </a:extLst>
        </p:spPr>
      </p:pic>
      <p:sp>
        <p:nvSpPr>
          <p:cNvPr id="11" name="Content Placeholder 5">
            <a:extLst>
              <a:ext uri="{FF2B5EF4-FFF2-40B4-BE49-F238E27FC236}">
                <a16:creationId xmlns:a16="http://schemas.microsoft.com/office/drawing/2014/main" id="{478101FA-335F-4F70-9169-05E641D80F57}"/>
              </a:ext>
            </a:extLst>
          </p:cNvPr>
          <p:cNvSpPr txBox="1">
            <a:spLocks/>
          </p:cNvSpPr>
          <p:nvPr/>
        </p:nvSpPr>
        <p:spPr>
          <a:xfrm>
            <a:off x="319088" y="1742981"/>
            <a:ext cx="7030096" cy="3200146"/>
          </a:xfrm>
          <a:prstGeom prst="rect">
            <a:avLst/>
          </a:prstGeom>
        </p:spPr>
        <p:txBody>
          <a:bodyPr vert="horz" lIns="0" tIns="45720" rIns="0" bIns="45720" rtlCol="0" anchor="t">
            <a:noAutofit/>
          </a:bodyPr>
          <a:lstStyle>
            <a:lvl1pPr marL="0" indent="0" algn="l" defTabSz="457200" rtl="0" eaLnBrk="1" latinLnBrk="0" hangingPunct="1">
              <a:spcBef>
                <a:spcPts val="1200"/>
              </a:spcBef>
              <a:buFont typeface="Arial"/>
              <a:buNone/>
              <a:defRPr sz="2400" kern="1200">
                <a:solidFill>
                  <a:schemeClr val="tx1"/>
                </a:solidFill>
                <a:latin typeface="+mn-lt"/>
                <a:ea typeface="+mn-ea"/>
                <a:cs typeface="+mn-cs"/>
              </a:defRPr>
            </a:lvl1pPr>
            <a:lvl2pPr marL="742950" indent="-285750" algn="l" defTabSz="457200" rtl="0" eaLnBrk="1" latinLnBrk="0" hangingPunct="1">
              <a:spcBef>
                <a:spcPts val="1200"/>
              </a:spcBef>
              <a:buFont typeface="Arial" panose="020B0604020202020204" pitchFamily="34" charset="0"/>
              <a:buChar char="•"/>
              <a:defRPr sz="2200" kern="1200">
                <a:solidFill>
                  <a:schemeClr val="tx1"/>
                </a:solidFill>
                <a:latin typeface="+mn-lt"/>
                <a:ea typeface="+mn-ea"/>
                <a:cs typeface="+mn-cs"/>
              </a:defRPr>
            </a:lvl2pPr>
            <a:lvl3pPr marL="1143000" indent="-228600" algn="l" defTabSz="457200" rtl="0" eaLnBrk="1" latinLnBrk="0" hangingPunct="1">
              <a:spcBef>
                <a:spcPts val="1200"/>
              </a:spcBef>
              <a:buFont typeface=".AppleSystemUIFont"/>
              <a:buChar char="–"/>
              <a:defRPr sz="2000" kern="1200">
                <a:solidFill>
                  <a:schemeClr val="tx1"/>
                </a:solidFill>
                <a:latin typeface="+mn-lt"/>
                <a:ea typeface="+mn-ea"/>
                <a:cs typeface="+mn-cs"/>
              </a:defRPr>
            </a:lvl3pPr>
            <a:lvl4pPr marL="1600200" indent="-228600" algn="l" defTabSz="457200" rtl="0" eaLnBrk="1" latinLnBrk="0" hangingPunct="1">
              <a:spcBef>
                <a:spcPts val="1200"/>
              </a:spcBef>
              <a:buFont typeface="Arial" panose="020B0604020202020204" pitchFamily="34" charset="0"/>
              <a:buChar char="•"/>
              <a:defRPr sz="1800" kern="1200">
                <a:solidFill>
                  <a:schemeClr val="tx1"/>
                </a:solidFill>
                <a:latin typeface="+mn-lt"/>
                <a:ea typeface="+mn-ea"/>
                <a:cs typeface="+mn-cs"/>
              </a:defRPr>
            </a:lvl4pPr>
            <a:lvl5pPr marL="2057400" indent="-228600" algn="l" defTabSz="457200" rtl="0" eaLnBrk="1" latinLnBrk="0" hangingPunct="1">
              <a:spcBef>
                <a:spcPts val="1200"/>
              </a:spcBef>
              <a:buFont typeface=".AppleSystemUIFont"/>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algn="ctr"/>
            <a:r>
              <a:rPr lang="en-US" sz="2000">
                <a:ea typeface="+mn-lt"/>
                <a:cs typeface="+mn-lt"/>
              </a:rPr>
              <a:t>20 year old female, Donna, presents to the dental clinic with</a:t>
            </a:r>
          </a:p>
          <a:p>
            <a:pPr algn="ctr"/>
            <a:r>
              <a:rPr lang="en-US" sz="2000">
                <a:ea typeface="+mn-lt"/>
                <a:cs typeface="+mn-lt"/>
              </a:rPr>
              <a:t>extreme dental phobia, and needs a tooth extracted. </a:t>
            </a:r>
            <a:endParaRPr lang="en-US" sz="2000">
              <a:cs typeface="Arial"/>
            </a:endParaRPr>
          </a:p>
          <a:p>
            <a:pPr algn="ctr"/>
            <a:endParaRPr lang="en-US" sz="2000">
              <a:cs typeface="Arial"/>
            </a:endParaRPr>
          </a:p>
          <a:p>
            <a:pPr algn="ctr"/>
            <a:r>
              <a:rPr lang="en-US" sz="2000">
                <a:cs typeface="Arial"/>
              </a:rPr>
              <a:t>The dental team suggests a dual-visit with a counselor on-call.</a:t>
            </a:r>
          </a:p>
          <a:p>
            <a:pPr algn="ctr"/>
            <a:endParaRPr lang="en-US" sz="2000">
              <a:cs typeface="Arial"/>
            </a:endParaRPr>
          </a:p>
          <a:p>
            <a:pPr algn="ctr"/>
            <a:r>
              <a:rPr lang="en-US" sz="2000">
                <a:cs typeface="Arial"/>
              </a:rPr>
              <a:t>The patient, counselor, and dental team agree to </a:t>
            </a:r>
          </a:p>
          <a:p>
            <a:pPr algn="ctr"/>
            <a:r>
              <a:rPr lang="en-US" sz="2000">
                <a:cs typeface="Arial"/>
              </a:rPr>
              <a:t>a whole-person care plan via Doxy.me.</a:t>
            </a:r>
          </a:p>
          <a:p>
            <a:pPr algn="ctr"/>
            <a:endParaRPr lang="en-US" sz="2000">
              <a:cs typeface="Arial"/>
            </a:endParaRPr>
          </a:p>
          <a:p>
            <a:pPr algn="ctr"/>
            <a:endParaRPr lang="en-US" sz="2000">
              <a:cs typeface="Arial"/>
            </a:endParaRPr>
          </a:p>
          <a:p>
            <a:endParaRPr lang="en-US">
              <a:cs typeface="Arial"/>
            </a:endParaRPr>
          </a:p>
        </p:txBody>
      </p:sp>
    </p:spTree>
    <p:extLst>
      <p:ext uri="{BB962C8B-B14F-4D97-AF65-F5344CB8AC3E}">
        <p14:creationId xmlns:p14="http://schemas.microsoft.com/office/powerpoint/2010/main" val="12792399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075A1-46F6-49D2-B4F2-2259C6296EA0}"/>
              </a:ext>
            </a:extLst>
          </p:cNvPr>
          <p:cNvSpPr>
            <a:spLocks noGrp="1"/>
          </p:cNvSpPr>
          <p:nvPr>
            <p:ph type="title"/>
          </p:nvPr>
        </p:nvSpPr>
        <p:spPr>
          <a:xfrm>
            <a:off x="502920" y="2377441"/>
            <a:ext cx="10363200" cy="1051560"/>
          </a:xfrm>
        </p:spPr>
        <p:txBody>
          <a:bodyPr/>
          <a:lstStyle/>
          <a:p>
            <a:r>
              <a:rPr lang="en-US" err="1">
                <a:latin typeface="Impact"/>
              </a:rPr>
              <a:t>Teledentistry</a:t>
            </a:r>
            <a:r>
              <a:rPr lang="en-US">
                <a:latin typeface="Impact"/>
              </a:rPr>
              <a:t>: a patient perspective</a:t>
            </a:r>
            <a:endParaRPr lang="en-US"/>
          </a:p>
        </p:txBody>
      </p:sp>
    </p:spTree>
    <p:extLst>
      <p:ext uri="{BB962C8B-B14F-4D97-AF65-F5344CB8AC3E}">
        <p14:creationId xmlns:p14="http://schemas.microsoft.com/office/powerpoint/2010/main" val="18200707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EB7E82FE-7DE9-444F-ACFC-CE97D8539386}"/>
              </a:ext>
            </a:extLst>
          </p:cNvPr>
          <p:cNvPicPr>
            <a:picLocks noChangeAspect="1"/>
          </p:cNvPicPr>
          <p:nvPr/>
        </p:nvPicPr>
        <p:blipFill>
          <a:blip r:embed="rId3"/>
          <a:stretch>
            <a:fillRect/>
          </a:stretch>
        </p:blipFill>
        <p:spPr>
          <a:xfrm>
            <a:off x="2973522" y="3054940"/>
            <a:ext cx="2913876" cy="2980100"/>
          </a:xfrm>
          <a:prstGeom prst="rect">
            <a:avLst/>
          </a:prstGeom>
        </p:spPr>
      </p:pic>
      <p:sp>
        <p:nvSpPr>
          <p:cNvPr id="5" name="Content Placeholder 4">
            <a:extLst>
              <a:ext uri="{FF2B5EF4-FFF2-40B4-BE49-F238E27FC236}">
                <a16:creationId xmlns:a16="http://schemas.microsoft.com/office/drawing/2014/main" id="{3FECFEBA-9D4F-4EAC-AABC-51449A1DBB36}"/>
              </a:ext>
            </a:extLst>
          </p:cNvPr>
          <p:cNvSpPr>
            <a:spLocks noGrp="1"/>
          </p:cNvSpPr>
          <p:nvPr>
            <p:ph sz="half" idx="2"/>
          </p:nvPr>
        </p:nvSpPr>
        <p:spPr>
          <a:xfrm>
            <a:off x="6153927" y="2359453"/>
            <a:ext cx="5242560" cy="4389120"/>
          </a:xfrm>
        </p:spPr>
        <p:txBody>
          <a:bodyPr/>
          <a:lstStyle/>
          <a:p>
            <a:pPr marL="342900" indent="-342900">
              <a:buFont typeface="Arial" panose="020B0604020202020204" pitchFamily="34" charset="0"/>
              <a:buChar char="•"/>
            </a:pPr>
            <a:r>
              <a:rPr lang="en-US" sz="2500">
                <a:latin typeface="Calibri" panose="020F0502020204030204" pitchFamily="34" charset="0"/>
                <a:cs typeface="Calibri" panose="020F0502020204030204" pitchFamily="34" charset="0"/>
              </a:rPr>
              <a:t>Made it easier for patient to get care</a:t>
            </a:r>
          </a:p>
          <a:p>
            <a:pPr marL="342900" indent="-342900">
              <a:buFont typeface="Arial" panose="020B0604020202020204" pitchFamily="34" charset="0"/>
              <a:buChar char="•"/>
            </a:pPr>
            <a:r>
              <a:rPr lang="en-US" sz="2500">
                <a:latin typeface="Calibri" panose="020F0502020204030204" pitchFamily="34" charset="0"/>
                <a:cs typeface="Calibri" panose="020F0502020204030204" pitchFamily="34" charset="0"/>
              </a:rPr>
              <a:t>Avoided cancellations or delays due to distance, work, or childcare</a:t>
            </a:r>
          </a:p>
          <a:p>
            <a:pPr marL="342900" indent="-342900">
              <a:buFont typeface="Arial" panose="020B0604020202020204" pitchFamily="34" charset="0"/>
              <a:buChar char="•"/>
            </a:pPr>
            <a:r>
              <a:rPr lang="en-US" sz="2500">
                <a:latin typeface="Calibri" panose="020F0502020204030204" pitchFamily="34" charset="0"/>
                <a:cs typeface="Calibri" panose="020F0502020204030204" pitchFamily="34" charset="0"/>
              </a:rPr>
              <a:t>Easier to access to in-person care if needed</a:t>
            </a:r>
          </a:p>
        </p:txBody>
      </p:sp>
      <p:sp>
        <p:nvSpPr>
          <p:cNvPr id="4" name="Title 3">
            <a:extLst>
              <a:ext uri="{FF2B5EF4-FFF2-40B4-BE49-F238E27FC236}">
                <a16:creationId xmlns:a16="http://schemas.microsoft.com/office/drawing/2014/main" id="{2F914F25-CA51-44C4-B8B2-F42FF5214320}"/>
              </a:ext>
            </a:extLst>
          </p:cNvPr>
          <p:cNvSpPr>
            <a:spLocks noGrp="1"/>
          </p:cNvSpPr>
          <p:nvPr>
            <p:ph type="title"/>
          </p:nvPr>
        </p:nvSpPr>
        <p:spPr/>
        <p:txBody>
          <a:bodyPr/>
          <a:lstStyle/>
          <a:p>
            <a:r>
              <a:rPr lang="en-US" sz="3600">
                <a:latin typeface="Calibri" panose="020F0502020204030204" pitchFamily="34" charset="0"/>
                <a:cs typeface="Calibri" panose="020F0502020204030204" pitchFamily="34" charset="0"/>
              </a:rPr>
              <a:t>Patients like Teledentistry</a:t>
            </a:r>
          </a:p>
        </p:txBody>
      </p:sp>
      <p:sp>
        <p:nvSpPr>
          <p:cNvPr id="6" name="Text Placeholder 5">
            <a:extLst>
              <a:ext uri="{FF2B5EF4-FFF2-40B4-BE49-F238E27FC236}">
                <a16:creationId xmlns:a16="http://schemas.microsoft.com/office/drawing/2014/main" id="{0C3966A5-750D-4D43-8B32-106995A59197}"/>
              </a:ext>
            </a:extLst>
          </p:cNvPr>
          <p:cNvSpPr>
            <a:spLocks noGrp="1"/>
          </p:cNvSpPr>
          <p:nvPr>
            <p:ph type="body" sz="half" idx="10"/>
          </p:nvPr>
        </p:nvSpPr>
        <p:spPr>
          <a:xfrm>
            <a:off x="502920" y="6215986"/>
            <a:ext cx="6467895" cy="336332"/>
          </a:xfrm>
        </p:spPr>
        <p:txBody>
          <a:bodyPr/>
          <a:lstStyle/>
          <a:p>
            <a:r>
              <a:rPr lang="en-US">
                <a:hlinkClick r:id="rId4"/>
              </a:rPr>
              <a:t>https://www.dentaquestpartnership.org/system/files/DQP_Teledentistry_Survey_Communications_Brief_0.pdf</a:t>
            </a:r>
            <a:endParaRPr lang="en-US"/>
          </a:p>
        </p:txBody>
      </p:sp>
      <p:pic>
        <p:nvPicPr>
          <p:cNvPr id="10" name="Picture 9">
            <a:extLst>
              <a:ext uri="{FF2B5EF4-FFF2-40B4-BE49-F238E27FC236}">
                <a16:creationId xmlns:a16="http://schemas.microsoft.com/office/drawing/2014/main" id="{4E53757E-1905-2C46-847D-192E5E028680}"/>
              </a:ext>
            </a:extLst>
          </p:cNvPr>
          <p:cNvPicPr>
            <a:picLocks noChangeAspect="1"/>
          </p:cNvPicPr>
          <p:nvPr/>
        </p:nvPicPr>
        <p:blipFill>
          <a:blip r:embed="rId5"/>
          <a:stretch>
            <a:fillRect/>
          </a:stretch>
        </p:blipFill>
        <p:spPr>
          <a:xfrm>
            <a:off x="502919" y="1546378"/>
            <a:ext cx="2913876" cy="2980100"/>
          </a:xfrm>
          <a:prstGeom prst="rect">
            <a:avLst/>
          </a:prstGeom>
          <a:ln w="19050">
            <a:solidFill>
              <a:schemeClr val="lt1">
                <a:hueOff val="0"/>
                <a:satOff val="0"/>
                <a:lumOff val="0"/>
              </a:schemeClr>
            </a:solidFill>
            <a:miter lim="800000"/>
          </a:ln>
        </p:spPr>
      </p:pic>
      <p:sp>
        <p:nvSpPr>
          <p:cNvPr id="2" name="TextBox 1">
            <a:extLst>
              <a:ext uri="{FF2B5EF4-FFF2-40B4-BE49-F238E27FC236}">
                <a16:creationId xmlns:a16="http://schemas.microsoft.com/office/drawing/2014/main" id="{106A3C7E-E2FA-44B3-A4D9-486C3C724071}"/>
              </a:ext>
            </a:extLst>
          </p:cNvPr>
          <p:cNvSpPr txBox="1"/>
          <p:nvPr/>
        </p:nvSpPr>
        <p:spPr>
          <a:xfrm>
            <a:off x="9835977" y="6215986"/>
            <a:ext cx="2306595" cy="532587"/>
          </a:xfrm>
          <a:prstGeom prst="rect">
            <a:avLst/>
          </a:prstGeom>
          <a:solidFill>
            <a:schemeClr val="bg1"/>
          </a:solidFill>
        </p:spPr>
        <p:txBody>
          <a:bodyPr wrap="square" rtlCol="0">
            <a:spAutoFit/>
          </a:bodyPr>
          <a:lstStyle/>
          <a:p>
            <a:endParaRPr lang="en-US"/>
          </a:p>
        </p:txBody>
      </p:sp>
    </p:spTree>
    <p:extLst>
      <p:ext uri="{BB962C8B-B14F-4D97-AF65-F5344CB8AC3E}">
        <p14:creationId xmlns:p14="http://schemas.microsoft.com/office/powerpoint/2010/main" val="13746406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9B301B1-11F5-2A4F-9BA1-93B6039E0160}"/>
              </a:ext>
            </a:extLst>
          </p:cNvPr>
          <p:cNvPicPr>
            <a:picLocks noChangeAspect="1"/>
          </p:cNvPicPr>
          <p:nvPr/>
        </p:nvPicPr>
        <p:blipFill>
          <a:blip r:embed="rId3"/>
          <a:stretch>
            <a:fillRect/>
          </a:stretch>
        </p:blipFill>
        <p:spPr>
          <a:xfrm>
            <a:off x="822166" y="2158758"/>
            <a:ext cx="2914701" cy="2980944"/>
          </a:xfrm>
          <a:prstGeom prst="rect">
            <a:avLst/>
          </a:prstGeom>
        </p:spPr>
      </p:pic>
      <p:sp>
        <p:nvSpPr>
          <p:cNvPr id="5" name="Content Placeholder 4">
            <a:extLst>
              <a:ext uri="{FF2B5EF4-FFF2-40B4-BE49-F238E27FC236}">
                <a16:creationId xmlns:a16="http://schemas.microsoft.com/office/drawing/2014/main" id="{3FECFEBA-9D4F-4EAC-AABC-51449A1DBB36}"/>
              </a:ext>
            </a:extLst>
          </p:cNvPr>
          <p:cNvSpPr>
            <a:spLocks noGrp="1"/>
          </p:cNvSpPr>
          <p:nvPr>
            <p:ph sz="half" idx="2"/>
          </p:nvPr>
        </p:nvSpPr>
        <p:spPr>
          <a:xfrm>
            <a:off x="3948971" y="2811751"/>
            <a:ext cx="7484190" cy="2703658"/>
          </a:xfrm>
        </p:spPr>
        <p:txBody>
          <a:bodyPr/>
          <a:lstStyle/>
          <a:p>
            <a:pPr marL="342900" indent="-342900">
              <a:buFont typeface="Arial" panose="020B0604020202020204" pitchFamily="34" charset="0"/>
              <a:buChar char="•"/>
            </a:pPr>
            <a:r>
              <a:rPr lang="en-US" sz="2500">
                <a:latin typeface="Calibri" panose="020F0502020204030204" pitchFamily="34" charset="0"/>
                <a:cs typeface="Calibri" panose="020F0502020204030204" pitchFamily="34" charset="0"/>
              </a:rPr>
              <a:t>86% said they were satisfied with their overall teledentistry experience</a:t>
            </a:r>
          </a:p>
          <a:p>
            <a:pPr marL="342900" indent="-342900">
              <a:buFont typeface="Arial" panose="020B0604020202020204" pitchFamily="34" charset="0"/>
              <a:buChar char="•"/>
            </a:pPr>
            <a:r>
              <a:rPr lang="en-US" sz="2500">
                <a:latin typeface="Calibri" panose="020F0502020204030204" pitchFamily="34" charset="0"/>
                <a:cs typeface="Calibri" panose="020F0502020204030204" pitchFamily="34" charset="0"/>
              </a:rPr>
              <a:t>95% said they were “able to speak freely with the dentist and ask questions”</a:t>
            </a:r>
          </a:p>
        </p:txBody>
      </p:sp>
      <p:sp>
        <p:nvSpPr>
          <p:cNvPr id="4" name="Title 3">
            <a:extLst>
              <a:ext uri="{FF2B5EF4-FFF2-40B4-BE49-F238E27FC236}">
                <a16:creationId xmlns:a16="http://schemas.microsoft.com/office/drawing/2014/main" id="{2F914F25-CA51-44C4-B8B2-F42FF5214320}"/>
              </a:ext>
            </a:extLst>
          </p:cNvPr>
          <p:cNvSpPr>
            <a:spLocks noGrp="1"/>
          </p:cNvSpPr>
          <p:nvPr>
            <p:ph type="title"/>
          </p:nvPr>
        </p:nvSpPr>
        <p:spPr/>
        <p:txBody>
          <a:bodyPr/>
          <a:lstStyle/>
          <a:p>
            <a:r>
              <a:rPr lang="en-US">
                <a:cs typeface="Arial"/>
              </a:rPr>
              <a:t>Key Findings from COVID-Era Survey</a:t>
            </a:r>
            <a:endParaRPr lang="en-US"/>
          </a:p>
        </p:txBody>
      </p:sp>
      <p:sp>
        <p:nvSpPr>
          <p:cNvPr id="6" name="Text Placeholder 5">
            <a:extLst>
              <a:ext uri="{FF2B5EF4-FFF2-40B4-BE49-F238E27FC236}">
                <a16:creationId xmlns:a16="http://schemas.microsoft.com/office/drawing/2014/main" id="{0C3966A5-750D-4D43-8B32-106995A59197}"/>
              </a:ext>
            </a:extLst>
          </p:cNvPr>
          <p:cNvSpPr>
            <a:spLocks noGrp="1"/>
          </p:cNvSpPr>
          <p:nvPr>
            <p:ph type="body" sz="half" idx="10"/>
          </p:nvPr>
        </p:nvSpPr>
        <p:spPr>
          <a:xfrm>
            <a:off x="502920" y="6215986"/>
            <a:ext cx="6467895" cy="336332"/>
          </a:xfrm>
        </p:spPr>
        <p:txBody>
          <a:bodyPr/>
          <a:lstStyle/>
          <a:p>
            <a:r>
              <a:rPr lang="en-US">
                <a:hlinkClick r:id="rId4"/>
              </a:rPr>
              <a:t>https://www.dentaquestpartnership.org/system/files/DQP_Teledentistry_Survey_Communications_Brief_0.pdf</a:t>
            </a:r>
            <a:endParaRPr lang="en-US"/>
          </a:p>
        </p:txBody>
      </p:sp>
      <p:sp>
        <p:nvSpPr>
          <p:cNvPr id="7" name="TextBox 6">
            <a:extLst>
              <a:ext uri="{FF2B5EF4-FFF2-40B4-BE49-F238E27FC236}">
                <a16:creationId xmlns:a16="http://schemas.microsoft.com/office/drawing/2014/main" id="{50BFE876-2B0B-4D80-93C9-8BF969406CE7}"/>
              </a:ext>
            </a:extLst>
          </p:cNvPr>
          <p:cNvSpPr txBox="1"/>
          <p:nvPr/>
        </p:nvSpPr>
        <p:spPr>
          <a:xfrm>
            <a:off x="9835977" y="6215986"/>
            <a:ext cx="2306595" cy="532587"/>
          </a:xfrm>
          <a:prstGeom prst="rect">
            <a:avLst/>
          </a:prstGeom>
          <a:solidFill>
            <a:schemeClr val="bg1"/>
          </a:solidFill>
        </p:spPr>
        <p:txBody>
          <a:bodyPr wrap="square" rtlCol="0">
            <a:spAutoFit/>
          </a:bodyPr>
          <a:lstStyle/>
          <a:p>
            <a:endParaRPr lang="en-US"/>
          </a:p>
        </p:txBody>
      </p:sp>
    </p:spTree>
    <p:extLst>
      <p:ext uri="{BB962C8B-B14F-4D97-AF65-F5344CB8AC3E}">
        <p14:creationId xmlns:p14="http://schemas.microsoft.com/office/powerpoint/2010/main" val="3729678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C426CEE-B472-E049-A638-D517254F3B21}"/>
              </a:ext>
            </a:extLst>
          </p:cNvPr>
          <p:cNvPicPr>
            <a:picLocks noChangeAspect="1"/>
          </p:cNvPicPr>
          <p:nvPr/>
        </p:nvPicPr>
        <p:blipFill>
          <a:blip r:embed="rId3"/>
          <a:stretch>
            <a:fillRect/>
          </a:stretch>
        </p:blipFill>
        <p:spPr>
          <a:xfrm>
            <a:off x="721295" y="1938528"/>
            <a:ext cx="2914701" cy="2980944"/>
          </a:xfrm>
          <a:prstGeom prst="rect">
            <a:avLst/>
          </a:prstGeom>
        </p:spPr>
      </p:pic>
      <p:sp>
        <p:nvSpPr>
          <p:cNvPr id="5" name="Content Placeholder 4">
            <a:extLst>
              <a:ext uri="{FF2B5EF4-FFF2-40B4-BE49-F238E27FC236}">
                <a16:creationId xmlns:a16="http://schemas.microsoft.com/office/drawing/2014/main" id="{3FECFEBA-9D4F-4EAC-AABC-51449A1DBB36}"/>
              </a:ext>
            </a:extLst>
          </p:cNvPr>
          <p:cNvSpPr>
            <a:spLocks noGrp="1"/>
          </p:cNvSpPr>
          <p:nvPr>
            <p:ph sz="half" idx="2"/>
          </p:nvPr>
        </p:nvSpPr>
        <p:spPr>
          <a:xfrm>
            <a:off x="4055013" y="3038845"/>
            <a:ext cx="7484190" cy="1509895"/>
          </a:xfrm>
        </p:spPr>
        <p:txBody>
          <a:bodyPr/>
          <a:lstStyle/>
          <a:p>
            <a:pPr marL="342900" indent="-342900">
              <a:buFont typeface="Arial" panose="020B0604020202020204" pitchFamily="34" charset="0"/>
              <a:buChar char="•"/>
            </a:pPr>
            <a:r>
              <a:rPr lang="en-US" sz="2500">
                <a:latin typeface="Calibri" panose="020F0502020204030204" pitchFamily="34" charset="0"/>
                <a:cs typeface="Calibri" panose="020F0502020204030204" pitchFamily="34" charset="0"/>
              </a:rPr>
              <a:t>69% reported that their concern was taken care of during the </a:t>
            </a:r>
            <a:r>
              <a:rPr lang="en-US" sz="2500" err="1">
                <a:latin typeface="Calibri" panose="020F0502020204030204" pitchFamily="34" charset="0"/>
                <a:cs typeface="Calibri" panose="020F0502020204030204" pitchFamily="34" charset="0"/>
              </a:rPr>
              <a:t>teledental</a:t>
            </a:r>
            <a:r>
              <a:rPr lang="en-US" sz="2500">
                <a:latin typeface="Calibri" panose="020F0502020204030204" pitchFamily="34" charset="0"/>
                <a:cs typeface="Calibri" panose="020F0502020204030204" pitchFamily="34" charset="0"/>
              </a:rPr>
              <a:t> visit</a:t>
            </a:r>
          </a:p>
        </p:txBody>
      </p:sp>
      <p:sp>
        <p:nvSpPr>
          <p:cNvPr id="4" name="Title 3">
            <a:extLst>
              <a:ext uri="{FF2B5EF4-FFF2-40B4-BE49-F238E27FC236}">
                <a16:creationId xmlns:a16="http://schemas.microsoft.com/office/drawing/2014/main" id="{2F914F25-CA51-44C4-B8B2-F42FF5214320}"/>
              </a:ext>
            </a:extLst>
          </p:cNvPr>
          <p:cNvSpPr>
            <a:spLocks noGrp="1"/>
          </p:cNvSpPr>
          <p:nvPr>
            <p:ph type="title"/>
          </p:nvPr>
        </p:nvSpPr>
        <p:spPr/>
        <p:txBody>
          <a:bodyPr/>
          <a:lstStyle/>
          <a:p>
            <a:r>
              <a:rPr lang="en-US">
                <a:cs typeface="Arial"/>
              </a:rPr>
              <a:t>Key Findings from COVID-Era Survey</a:t>
            </a:r>
            <a:endParaRPr lang="en-US"/>
          </a:p>
        </p:txBody>
      </p:sp>
      <p:sp>
        <p:nvSpPr>
          <p:cNvPr id="6" name="Text Placeholder 5">
            <a:extLst>
              <a:ext uri="{FF2B5EF4-FFF2-40B4-BE49-F238E27FC236}">
                <a16:creationId xmlns:a16="http://schemas.microsoft.com/office/drawing/2014/main" id="{0C3966A5-750D-4D43-8B32-106995A59197}"/>
              </a:ext>
            </a:extLst>
          </p:cNvPr>
          <p:cNvSpPr>
            <a:spLocks noGrp="1"/>
          </p:cNvSpPr>
          <p:nvPr>
            <p:ph type="body" sz="half" idx="10"/>
          </p:nvPr>
        </p:nvSpPr>
        <p:spPr>
          <a:xfrm>
            <a:off x="502920" y="6215986"/>
            <a:ext cx="6467895" cy="336332"/>
          </a:xfrm>
        </p:spPr>
        <p:txBody>
          <a:bodyPr/>
          <a:lstStyle/>
          <a:p>
            <a:r>
              <a:rPr lang="en-US">
                <a:hlinkClick r:id="rId4"/>
              </a:rPr>
              <a:t>https://www.dentaquestpartnership.org/system/files/DQP_Teledentistry_Survey_Communications_Brief_0.pdf</a:t>
            </a:r>
            <a:endParaRPr lang="en-US"/>
          </a:p>
        </p:txBody>
      </p:sp>
      <p:sp>
        <p:nvSpPr>
          <p:cNvPr id="8" name="TextBox 7">
            <a:extLst>
              <a:ext uri="{FF2B5EF4-FFF2-40B4-BE49-F238E27FC236}">
                <a16:creationId xmlns:a16="http://schemas.microsoft.com/office/drawing/2014/main" id="{EAD430BA-E011-400E-94FF-5D111CBA774E}"/>
              </a:ext>
            </a:extLst>
          </p:cNvPr>
          <p:cNvSpPr txBox="1"/>
          <p:nvPr/>
        </p:nvSpPr>
        <p:spPr>
          <a:xfrm>
            <a:off x="9835977" y="6215986"/>
            <a:ext cx="2306595" cy="532587"/>
          </a:xfrm>
          <a:prstGeom prst="rect">
            <a:avLst/>
          </a:prstGeom>
          <a:solidFill>
            <a:schemeClr val="bg1"/>
          </a:solidFill>
        </p:spPr>
        <p:txBody>
          <a:bodyPr wrap="square" rtlCol="0">
            <a:spAutoFit/>
          </a:bodyPr>
          <a:lstStyle/>
          <a:p>
            <a:endParaRPr lang="en-US"/>
          </a:p>
        </p:txBody>
      </p:sp>
    </p:spTree>
    <p:extLst>
      <p:ext uri="{BB962C8B-B14F-4D97-AF65-F5344CB8AC3E}">
        <p14:creationId xmlns:p14="http://schemas.microsoft.com/office/powerpoint/2010/main" val="27648485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021178BF-7A98-8240-8517-F64567D9C074}"/>
              </a:ext>
            </a:extLst>
          </p:cNvPr>
          <p:cNvSpPr/>
          <p:nvPr/>
        </p:nvSpPr>
        <p:spPr>
          <a:xfrm>
            <a:off x="502094" y="1546378"/>
            <a:ext cx="3544664" cy="43891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a:extLst>
              <a:ext uri="{FF2B5EF4-FFF2-40B4-BE49-F238E27FC236}">
                <a16:creationId xmlns:a16="http://schemas.microsoft.com/office/drawing/2014/main" id="{2A006C32-6A76-7042-8EF4-A98447DD7CFE}"/>
              </a:ext>
            </a:extLst>
          </p:cNvPr>
          <p:cNvSpPr/>
          <p:nvPr/>
        </p:nvSpPr>
        <p:spPr>
          <a:xfrm>
            <a:off x="4322291" y="1546378"/>
            <a:ext cx="3544664" cy="43891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827DE61B-0759-694F-858E-C1CD7A90D076}"/>
              </a:ext>
            </a:extLst>
          </p:cNvPr>
          <p:cNvSpPr/>
          <p:nvPr/>
        </p:nvSpPr>
        <p:spPr>
          <a:xfrm>
            <a:off x="8120165" y="1546378"/>
            <a:ext cx="3544664" cy="43891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3">
            <a:extLst>
              <a:ext uri="{FF2B5EF4-FFF2-40B4-BE49-F238E27FC236}">
                <a16:creationId xmlns:a16="http://schemas.microsoft.com/office/drawing/2014/main" id="{B4CC9E15-CD3A-6A4B-899D-1BEB7C959BF5}"/>
              </a:ext>
            </a:extLst>
          </p:cNvPr>
          <p:cNvSpPr>
            <a:spLocks noGrp="1"/>
          </p:cNvSpPr>
          <p:nvPr>
            <p:ph type="title"/>
          </p:nvPr>
        </p:nvSpPr>
        <p:spPr/>
        <p:txBody>
          <a:bodyPr/>
          <a:lstStyle/>
          <a:p>
            <a:r>
              <a:rPr lang="en-US"/>
              <a:t>The best use cases for </a:t>
            </a:r>
            <a:r>
              <a:rPr lang="en-US" err="1"/>
              <a:t>teledentistry</a:t>
            </a:r>
            <a:r>
              <a:rPr lang="en-US"/>
              <a:t> according to patients</a:t>
            </a:r>
          </a:p>
        </p:txBody>
      </p:sp>
      <p:sp>
        <p:nvSpPr>
          <p:cNvPr id="7" name="Text Placeholder 6">
            <a:extLst>
              <a:ext uri="{FF2B5EF4-FFF2-40B4-BE49-F238E27FC236}">
                <a16:creationId xmlns:a16="http://schemas.microsoft.com/office/drawing/2014/main" id="{1396CD00-10CF-E748-9E06-84E00C4964BC}"/>
              </a:ext>
            </a:extLst>
          </p:cNvPr>
          <p:cNvSpPr>
            <a:spLocks noGrp="1"/>
          </p:cNvSpPr>
          <p:nvPr>
            <p:ph type="body" sz="half" idx="10"/>
          </p:nvPr>
        </p:nvSpPr>
        <p:spPr/>
        <p:txBody>
          <a:bodyPr/>
          <a:lstStyle/>
          <a:p>
            <a:r>
              <a:rPr lang="en-US">
                <a:hlinkClick r:id="rId3"/>
              </a:rPr>
              <a:t>https://dentavox.dentacoin.com/blog/teledentistry-surteledentistry-survey-shows-patients-are-ready-to-welcome-it/</a:t>
            </a:r>
            <a:endParaRPr lang="en-US"/>
          </a:p>
        </p:txBody>
      </p:sp>
      <p:graphicFrame>
        <p:nvGraphicFramePr>
          <p:cNvPr id="14" name="Content Placeholder 14">
            <a:extLst>
              <a:ext uri="{FF2B5EF4-FFF2-40B4-BE49-F238E27FC236}">
                <a16:creationId xmlns:a16="http://schemas.microsoft.com/office/drawing/2014/main" id="{299C4BDC-D60F-D64D-B178-846CFEDEAACC}"/>
              </a:ext>
            </a:extLst>
          </p:cNvPr>
          <p:cNvGraphicFramePr>
            <a:graphicFrameLocks noChangeAspect="1"/>
          </p:cNvGraphicFramePr>
          <p:nvPr>
            <p:extLst>
              <p:ext uri="{D42A27DB-BD31-4B8C-83A1-F6EECF244321}">
                <p14:modId xmlns:p14="http://schemas.microsoft.com/office/powerpoint/2010/main" val="2825742693"/>
              </p:ext>
            </p:extLst>
          </p:nvPr>
        </p:nvGraphicFramePr>
        <p:xfrm>
          <a:off x="502920" y="1744437"/>
          <a:ext cx="3657600" cy="308049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5" name="Content Placeholder 14">
            <a:extLst>
              <a:ext uri="{FF2B5EF4-FFF2-40B4-BE49-F238E27FC236}">
                <a16:creationId xmlns:a16="http://schemas.microsoft.com/office/drawing/2014/main" id="{6EAB5660-5426-4F48-8E71-2E94936CB402}"/>
              </a:ext>
            </a:extLst>
          </p:cNvPr>
          <p:cNvGraphicFramePr>
            <a:graphicFrameLocks noChangeAspect="1"/>
          </p:cNvGraphicFramePr>
          <p:nvPr>
            <p:extLst>
              <p:ext uri="{D42A27DB-BD31-4B8C-83A1-F6EECF244321}">
                <p14:modId xmlns:p14="http://schemas.microsoft.com/office/powerpoint/2010/main" val="670641629"/>
              </p:ext>
            </p:extLst>
          </p:nvPr>
        </p:nvGraphicFramePr>
        <p:xfrm>
          <a:off x="4312920" y="1744437"/>
          <a:ext cx="3566160" cy="30034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6" name="Content Placeholder 14">
            <a:extLst>
              <a:ext uri="{FF2B5EF4-FFF2-40B4-BE49-F238E27FC236}">
                <a16:creationId xmlns:a16="http://schemas.microsoft.com/office/drawing/2014/main" id="{44C673C1-AB4C-6049-B4B6-C2A0BED1DF0B}"/>
              </a:ext>
            </a:extLst>
          </p:cNvPr>
          <p:cNvGraphicFramePr>
            <a:graphicFrameLocks noChangeAspect="1"/>
          </p:cNvGraphicFramePr>
          <p:nvPr>
            <p:extLst>
              <p:ext uri="{D42A27DB-BD31-4B8C-83A1-F6EECF244321}">
                <p14:modId xmlns:p14="http://schemas.microsoft.com/office/powerpoint/2010/main" val="851516691"/>
              </p:ext>
            </p:extLst>
          </p:nvPr>
        </p:nvGraphicFramePr>
        <p:xfrm>
          <a:off x="8122920" y="1744437"/>
          <a:ext cx="3566160" cy="3003483"/>
        </p:xfrm>
        <a:graphic>
          <a:graphicData uri="http://schemas.openxmlformats.org/drawingml/2006/chart">
            <c:chart xmlns:c="http://schemas.openxmlformats.org/drawingml/2006/chart" xmlns:r="http://schemas.openxmlformats.org/officeDocument/2006/relationships" r:id="rId6"/>
          </a:graphicData>
        </a:graphic>
      </p:graphicFrame>
      <p:sp>
        <p:nvSpPr>
          <p:cNvPr id="17" name="Rectangle 16">
            <a:extLst>
              <a:ext uri="{FF2B5EF4-FFF2-40B4-BE49-F238E27FC236}">
                <a16:creationId xmlns:a16="http://schemas.microsoft.com/office/drawing/2014/main" id="{812C9BE4-F05F-184B-B645-E4C80B218ADD}"/>
              </a:ext>
            </a:extLst>
          </p:cNvPr>
          <p:cNvSpPr/>
          <p:nvPr/>
        </p:nvSpPr>
        <p:spPr>
          <a:xfrm>
            <a:off x="1745679" y="2869186"/>
            <a:ext cx="1274708" cy="830997"/>
          </a:xfrm>
          <a:prstGeom prst="rect">
            <a:avLst/>
          </a:prstGeom>
        </p:spPr>
        <p:txBody>
          <a:bodyPr wrap="none">
            <a:spAutoFit/>
          </a:bodyPr>
          <a:lstStyle/>
          <a:p>
            <a:r>
              <a:rPr lang="en-US" sz="4800">
                <a:solidFill>
                  <a:schemeClr val="accent1"/>
                </a:solidFill>
                <a:latin typeface="Impact" panose="020B0806030902050204" pitchFamily="34" charset="0"/>
              </a:rPr>
              <a:t>65%</a:t>
            </a:r>
            <a:endParaRPr lang="en-US" sz="4800"/>
          </a:p>
        </p:txBody>
      </p:sp>
      <p:sp>
        <p:nvSpPr>
          <p:cNvPr id="18" name="TextBox 17">
            <a:extLst>
              <a:ext uri="{FF2B5EF4-FFF2-40B4-BE49-F238E27FC236}">
                <a16:creationId xmlns:a16="http://schemas.microsoft.com/office/drawing/2014/main" id="{97961238-37A5-5D42-9799-90069AF0E931}"/>
              </a:ext>
            </a:extLst>
          </p:cNvPr>
          <p:cNvSpPr txBox="1"/>
          <p:nvPr/>
        </p:nvSpPr>
        <p:spPr>
          <a:xfrm>
            <a:off x="965549" y="5002346"/>
            <a:ext cx="2732342" cy="707886"/>
          </a:xfrm>
          <a:prstGeom prst="rect">
            <a:avLst/>
          </a:prstGeom>
          <a:noFill/>
        </p:spPr>
        <p:txBody>
          <a:bodyPr wrap="square" rtlCol="0">
            <a:spAutoFit/>
          </a:bodyPr>
          <a:lstStyle/>
          <a:p>
            <a:pPr algn="ctr"/>
            <a:r>
              <a:rPr lang="en-US" sz="2000"/>
              <a:t>Health Promotion</a:t>
            </a:r>
            <a:br>
              <a:rPr lang="en-US" sz="2000"/>
            </a:br>
            <a:r>
              <a:rPr lang="en-US" sz="2000"/>
              <a:t>&amp; Education</a:t>
            </a:r>
          </a:p>
        </p:txBody>
      </p:sp>
      <p:sp>
        <p:nvSpPr>
          <p:cNvPr id="19" name="Rectangle 18">
            <a:extLst>
              <a:ext uri="{FF2B5EF4-FFF2-40B4-BE49-F238E27FC236}">
                <a16:creationId xmlns:a16="http://schemas.microsoft.com/office/drawing/2014/main" id="{4689903C-8F42-D448-934B-49E54E91BC54}"/>
              </a:ext>
            </a:extLst>
          </p:cNvPr>
          <p:cNvSpPr/>
          <p:nvPr/>
        </p:nvSpPr>
        <p:spPr>
          <a:xfrm>
            <a:off x="5511562" y="2830680"/>
            <a:ext cx="1271502" cy="830997"/>
          </a:xfrm>
          <a:prstGeom prst="rect">
            <a:avLst/>
          </a:prstGeom>
        </p:spPr>
        <p:txBody>
          <a:bodyPr wrap="none">
            <a:spAutoFit/>
          </a:bodyPr>
          <a:lstStyle/>
          <a:p>
            <a:r>
              <a:rPr lang="en-US" sz="4800">
                <a:solidFill>
                  <a:schemeClr val="accent2"/>
                </a:solidFill>
                <a:latin typeface="Impact" panose="020B0806030902050204" pitchFamily="34" charset="0"/>
              </a:rPr>
              <a:t>50%</a:t>
            </a:r>
            <a:endParaRPr lang="en-US" sz="4800">
              <a:solidFill>
                <a:schemeClr val="accent2"/>
              </a:solidFill>
            </a:endParaRPr>
          </a:p>
        </p:txBody>
      </p:sp>
      <p:sp>
        <p:nvSpPr>
          <p:cNvPr id="20" name="Rectangle 19">
            <a:extLst>
              <a:ext uri="{FF2B5EF4-FFF2-40B4-BE49-F238E27FC236}">
                <a16:creationId xmlns:a16="http://schemas.microsoft.com/office/drawing/2014/main" id="{46574BEC-22FD-0549-BF15-DC5C6EAF41C7}"/>
              </a:ext>
            </a:extLst>
          </p:cNvPr>
          <p:cNvSpPr/>
          <p:nvPr/>
        </p:nvSpPr>
        <p:spPr>
          <a:xfrm>
            <a:off x="9376866" y="2830680"/>
            <a:ext cx="1160895" cy="830997"/>
          </a:xfrm>
          <a:prstGeom prst="rect">
            <a:avLst/>
          </a:prstGeom>
        </p:spPr>
        <p:txBody>
          <a:bodyPr wrap="none">
            <a:spAutoFit/>
          </a:bodyPr>
          <a:lstStyle/>
          <a:p>
            <a:r>
              <a:rPr lang="en-US" sz="4800">
                <a:solidFill>
                  <a:schemeClr val="accent3"/>
                </a:solidFill>
                <a:latin typeface="Impact" panose="020B0806030902050204" pitchFamily="34" charset="0"/>
              </a:rPr>
              <a:t>27%</a:t>
            </a:r>
            <a:endParaRPr lang="en-US" sz="4800">
              <a:solidFill>
                <a:schemeClr val="accent3"/>
              </a:solidFill>
            </a:endParaRPr>
          </a:p>
        </p:txBody>
      </p:sp>
      <p:sp>
        <p:nvSpPr>
          <p:cNvPr id="21" name="TextBox 20">
            <a:extLst>
              <a:ext uri="{FF2B5EF4-FFF2-40B4-BE49-F238E27FC236}">
                <a16:creationId xmlns:a16="http://schemas.microsoft.com/office/drawing/2014/main" id="{14A987B8-2603-444C-8934-66DAA25D31E9}"/>
              </a:ext>
            </a:extLst>
          </p:cNvPr>
          <p:cNvSpPr txBox="1"/>
          <p:nvPr/>
        </p:nvSpPr>
        <p:spPr>
          <a:xfrm>
            <a:off x="4391085" y="5002346"/>
            <a:ext cx="3409830" cy="707886"/>
          </a:xfrm>
          <a:prstGeom prst="rect">
            <a:avLst/>
          </a:prstGeom>
          <a:noFill/>
        </p:spPr>
        <p:txBody>
          <a:bodyPr wrap="square" rtlCol="0">
            <a:spAutoFit/>
          </a:bodyPr>
          <a:lstStyle/>
          <a:p>
            <a:pPr algn="ctr"/>
            <a:r>
              <a:rPr lang="en-US" sz="2000"/>
              <a:t>Diagnosis &amp; Dental Disease Risk Management</a:t>
            </a:r>
          </a:p>
        </p:txBody>
      </p:sp>
      <p:sp>
        <p:nvSpPr>
          <p:cNvPr id="22" name="TextBox 21">
            <a:extLst>
              <a:ext uri="{FF2B5EF4-FFF2-40B4-BE49-F238E27FC236}">
                <a16:creationId xmlns:a16="http://schemas.microsoft.com/office/drawing/2014/main" id="{178D71E1-2C2A-F546-9111-D32010ECA272}"/>
              </a:ext>
            </a:extLst>
          </p:cNvPr>
          <p:cNvSpPr txBox="1"/>
          <p:nvPr/>
        </p:nvSpPr>
        <p:spPr>
          <a:xfrm>
            <a:off x="8358126" y="5002346"/>
            <a:ext cx="3095749" cy="400110"/>
          </a:xfrm>
          <a:prstGeom prst="rect">
            <a:avLst/>
          </a:prstGeom>
          <a:noFill/>
        </p:spPr>
        <p:txBody>
          <a:bodyPr wrap="square" rtlCol="0">
            <a:spAutoFit/>
          </a:bodyPr>
          <a:lstStyle/>
          <a:p>
            <a:pPr algn="ctr"/>
            <a:r>
              <a:rPr lang="en-US" sz="2000"/>
              <a:t>Preventive Procedures</a:t>
            </a:r>
          </a:p>
        </p:txBody>
      </p:sp>
    </p:spTree>
    <p:extLst>
      <p:ext uri="{BB962C8B-B14F-4D97-AF65-F5344CB8AC3E}">
        <p14:creationId xmlns:p14="http://schemas.microsoft.com/office/powerpoint/2010/main" val="350029815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89CDFEA-4F52-AC41-8E8B-FF866EC6790C}"/>
              </a:ext>
            </a:extLst>
          </p:cNvPr>
          <p:cNvSpPr/>
          <p:nvPr/>
        </p:nvSpPr>
        <p:spPr>
          <a:xfrm>
            <a:off x="502093" y="1546378"/>
            <a:ext cx="11162735" cy="4389121"/>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E021505-B939-4AB7-8125-FB0560441007}"/>
              </a:ext>
            </a:extLst>
          </p:cNvPr>
          <p:cNvSpPr>
            <a:spLocks noGrp="1"/>
          </p:cNvSpPr>
          <p:nvPr>
            <p:ph type="title"/>
          </p:nvPr>
        </p:nvSpPr>
        <p:spPr/>
        <p:txBody>
          <a:bodyPr/>
          <a:lstStyle/>
          <a:p>
            <a:r>
              <a:rPr lang="en-US">
                <a:cs typeface="Arial"/>
              </a:rPr>
              <a:t>Stress-related oral health conditions in the COVID-19 era</a:t>
            </a:r>
            <a:endParaRPr lang="en-US"/>
          </a:p>
        </p:txBody>
      </p:sp>
      <p:sp>
        <p:nvSpPr>
          <p:cNvPr id="3" name="Text Placeholder 2">
            <a:extLst>
              <a:ext uri="{FF2B5EF4-FFF2-40B4-BE49-F238E27FC236}">
                <a16:creationId xmlns:a16="http://schemas.microsoft.com/office/drawing/2014/main" id="{1DFB0014-053C-4814-8DB3-58A4E80FFA36}"/>
              </a:ext>
            </a:extLst>
          </p:cNvPr>
          <p:cNvSpPr>
            <a:spLocks noGrp="1"/>
          </p:cNvSpPr>
          <p:nvPr>
            <p:ph type="body" sz="half" idx="10"/>
          </p:nvPr>
        </p:nvSpPr>
        <p:spPr/>
        <p:txBody>
          <a:bodyPr/>
          <a:lstStyle/>
          <a:p>
            <a:r>
              <a:rPr lang="en-US">
                <a:ea typeface="+mn-lt"/>
                <a:cs typeface="+mn-lt"/>
              </a:rPr>
              <a:t>https://</a:t>
            </a:r>
            <a:r>
              <a:rPr lang="en-US" err="1">
                <a:ea typeface="+mn-lt"/>
                <a:cs typeface="+mn-lt"/>
              </a:rPr>
              <a:t>www.ada.org</a:t>
            </a:r>
            <a:r>
              <a:rPr lang="en-US">
                <a:ea typeface="+mn-lt"/>
                <a:cs typeface="+mn-lt"/>
              </a:rPr>
              <a:t>/</a:t>
            </a:r>
            <a:r>
              <a:rPr lang="en-US" err="1">
                <a:ea typeface="+mn-lt"/>
                <a:cs typeface="+mn-lt"/>
              </a:rPr>
              <a:t>en</a:t>
            </a:r>
            <a:r>
              <a:rPr lang="en-US">
                <a:ea typeface="+mn-lt"/>
                <a:cs typeface="+mn-lt"/>
              </a:rPr>
              <a:t>/publications/</a:t>
            </a:r>
            <a:r>
              <a:rPr lang="en-US" err="1">
                <a:ea typeface="+mn-lt"/>
                <a:cs typeface="+mn-lt"/>
              </a:rPr>
              <a:t>ada</a:t>
            </a:r>
            <a:r>
              <a:rPr lang="en-US">
                <a:ea typeface="+mn-lt"/>
                <a:cs typeface="+mn-lt"/>
              </a:rPr>
              <a:t>-news/2020-archive/</a:t>
            </a:r>
            <a:r>
              <a:rPr lang="en-US" err="1">
                <a:ea typeface="+mn-lt"/>
                <a:cs typeface="+mn-lt"/>
              </a:rPr>
              <a:t>september</a:t>
            </a:r>
            <a:r>
              <a:rPr lang="en-US">
                <a:ea typeface="+mn-lt"/>
                <a:cs typeface="+mn-lt"/>
              </a:rPr>
              <a:t>/hpi-poll-dentists-see-increase-in-patients-stress-related-oral-health-conditions</a:t>
            </a:r>
            <a:endParaRPr lang="en-US"/>
          </a:p>
        </p:txBody>
      </p:sp>
      <p:sp>
        <p:nvSpPr>
          <p:cNvPr id="7" name="Rounded Rectangle 6">
            <a:extLst>
              <a:ext uri="{FF2B5EF4-FFF2-40B4-BE49-F238E27FC236}">
                <a16:creationId xmlns:a16="http://schemas.microsoft.com/office/drawing/2014/main" id="{A961E6F2-116C-E645-8356-A3922423836D}"/>
              </a:ext>
            </a:extLst>
          </p:cNvPr>
          <p:cNvSpPr/>
          <p:nvPr/>
        </p:nvSpPr>
        <p:spPr>
          <a:xfrm>
            <a:off x="1332053" y="1759353"/>
            <a:ext cx="9502815" cy="682906"/>
          </a:xfrm>
          <a:prstGeom prst="round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en-US" b="1">
                <a:solidFill>
                  <a:srgbClr val="7030A0"/>
                </a:solidFill>
              </a:rPr>
              <a:t>COMPARED TO BEFORE THE COVID-19 PANDEMIC</a:t>
            </a:r>
            <a:r>
              <a:rPr lang="en-US">
                <a:solidFill>
                  <a:schemeClr val="tx1"/>
                </a:solidFill>
              </a:rPr>
              <a:t>, how has the prevalence of the following conditions changed among patients in your dental practice?</a:t>
            </a:r>
          </a:p>
        </p:txBody>
      </p:sp>
      <p:sp>
        <p:nvSpPr>
          <p:cNvPr id="79" name="Freeform 78">
            <a:extLst>
              <a:ext uri="{FF2B5EF4-FFF2-40B4-BE49-F238E27FC236}">
                <a16:creationId xmlns:a16="http://schemas.microsoft.com/office/drawing/2014/main" id="{BA28F7E7-C64F-C54C-A18A-48B304208849}"/>
              </a:ext>
            </a:extLst>
          </p:cNvPr>
          <p:cNvSpPr/>
          <p:nvPr/>
        </p:nvSpPr>
        <p:spPr>
          <a:xfrm>
            <a:off x="881743" y="3373940"/>
            <a:ext cx="1666283" cy="2266784"/>
          </a:xfrm>
          <a:custGeom>
            <a:avLst/>
            <a:gdLst>
              <a:gd name="connsiteX0" fmla="*/ 1205044 w 1666283"/>
              <a:gd name="connsiteY0" fmla="*/ 2088108 h 2266784"/>
              <a:gd name="connsiteX1" fmla="*/ 1294382 w 1666283"/>
              <a:gd name="connsiteY1" fmla="*/ 2177446 h 2266784"/>
              <a:gd name="connsiteX2" fmla="*/ 1205044 w 1666283"/>
              <a:gd name="connsiteY2" fmla="*/ 2266784 h 2266784"/>
              <a:gd name="connsiteX3" fmla="*/ 1115706 w 1666283"/>
              <a:gd name="connsiteY3" fmla="*/ 2177446 h 2266784"/>
              <a:gd name="connsiteX4" fmla="*/ 1205044 w 1666283"/>
              <a:gd name="connsiteY4" fmla="*/ 2088108 h 2266784"/>
              <a:gd name="connsiteX5" fmla="*/ 1019093 w 1666283"/>
              <a:gd name="connsiteY5" fmla="*/ 2088108 h 2266784"/>
              <a:gd name="connsiteX6" fmla="*/ 1108431 w 1666283"/>
              <a:gd name="connsiteY6" fmla="*/ 2177446 h 2266784"/>
              <a:gd name="connsiteX7" fmla="*/ 1019093 w 1666283"/>
              <a:gd name="connsiteY7" fmla="*/ 2266784 h 2266784"/>
              <a:gd name="connsiteX8" fmla="*/ 929755 w 1666283"/>
              <a:gd name="connsiteY8" fmla="*/ 2177446 h 2266784"/>
              <a:gd name="connsiteX9" fmla="*/ 1019093 w 1666283"/>
              <a:gd name="connsiteY9" fmla="*/ 2088108 h 2266784"/>
              <a:gd name="connsiteX10" fmla="*/ 833142 w 1666283"/>
              <a:gd name="connsiteY10" fmla="*/ 2088108 h 2266784"/>
              <a:gd name="connsiteX11" fmla="*/ 922480 w 1666283"/>
              <a:gd name="connsiteY11" fmla="*/ 2177446 h 2266784"/>
              <a:gd name="connsiteX12" fmla="*/ 833142 w 1666283"/>
              <a:gd name="connsiteY12" fmla="*/ 2266784 h 2266784"/>
              <a:gd name="connsiteX13" fmla="*/ 743804 w 1666283"/>
              <a:gd name="connsiteY13" fmla="*/ 2177446 h 2266784"/>
              <a:gd name="connsiteX14" fmla="*/ 833142 w 1666283"/>
              <a:gd name="connsiteY14" fmla="*/ 2088108 h 2266784"/>
              <a:gd name="connsiteX15" fmla="*/ 647191 w 1666283"/>
              <a:gd name="connsiteY15" fmla="*/ 2088108 h 2266784"/>
              <a:gd name="connsiteX16" fmla="*/ 736529 w 1666283"/>
              <a:gd name="connsiteY16" fmla="*/ 2177446 h 2266784"/>
              <a:gd name="connsiteX17" fmla="*/ 647191 w 1666283"/>
              <a:gd name="connsiteY17" fmla="*/ 2266784 h 2266784"/>
              <a:gd name="connsiteX18" fmla="*/ 557853 w 1666283"/>
              <a:gd name="connsiteY18" fmla="*/ 2177446 h 2266784"/>
              <a:gd name="connsiteX19" fmla="*/ 647191 w 1666283"/>
              <a:gd name="connsiteY19" fmla="*/ 2088108 h 2266784"/>
              <a:gd name="connsiteX20" fmla="*/ 461240 w 1666283"/>
              <a:gd name="connsiteY20" fmla="*/ 2088108 h 2266784"/>
              <a:gd name="connsiteX21" fmla="*/ 550578 w 1666283"/>
              <a:gd name="connsiteY21" fmla="*/ 2177446 h 2266784"/>
              <a:gd name="connsiteX22" fmla="*/ 461240 w 1666283"/>
              <a:gd name="connsiteY22" fmla="*/ 2266784 h 2266784"/>
              <a:gd name="connsiteX23" fmla="*/ 371902 w 1666283"/>
              <a:gd name="connsiteY23" fmla="*/ 2177446 h 2266784"/>
              <a:gd name="connsiteX24" fmla="*/ 461240 w 1666283"/>
              <a:gd name="connsiteY24" fmla="*/ 2088108 h 2266784"/>
              <a:gd name="connsiteX25" fmla="*/ 1205044 w 1666283"/>
              <a:gd name="connsiteY25" fmla="*/ 1890215 h 2266784"/>
              <a:gd name="connsiteX26" fmla="*/ 1294382 w 1666283"/>
              <a:gd name="connsiteY26" fmla="*/ 1979553 h 2266784"/>
              <a:gd name="connsiteX27" fmla="*/ 1205044 w 1666283"/>
              <a:gd name="connsiteY27" fmla="*/ 2068891 h 2266784"/>
              <a:gd name="connsiteX28" fmla="*/ 1115706 w 1666283"/>
              <a:gd name="connsiteY28" fmla="*/ 1979553 h 2266784"/>
              <a:gd name="connsiteX29" fmla="*/ 1205044 w 1666283"/>
              <a:gd name="connsiteY29" fmla="*/ 1890215 h 2266784"/>
              <a:gd name="connsiteX30" fmla="*/ 1019093 w 1666283"/>
              <a:gd name="connsiteY30" fmla="*/ 1890215 h 2266784"/>
              <a:gd name="connsiteX31" fmla="*/ 1108431 w 1666283"/>
              <a:gd name="connsiteY31" fmla="*/ 1979553 h 2266784"/>
              <a:gd name="connsiteX32" fmla="*/ 1019093 w 1666283"/>
              <a:gd name="connsiteY32" fmla="*/ 2068891 h 2266784"/>
              <a:gd name="connsiteX33" fmla="*/ 929755 w 1666283"/>
              <a:gd name="connsiteY33" fmla="*/ 1979553 h 2266784"/>
              <a:gd name="connsiteX34" fmla="*/ 1019093 w 1666283"/>
              <a:gd name="connsiteY34" fmla="*/ 1890215 h 2266784"/>
              <a:gd name="connsiteX35" fmla="*/ 833142 w 1666283"/>
              <a:gd name="connsiteY35" fmla="*/ 1890215 h 2266784"/>
              <a:gd name="connsiteX36" fmla="*/ 922480 w 1666283"/>
              <a:gd name="connsiteY36" fmla="*/ 1979553 h 2266784"/>
              <a:gd name="connsiteX37" fmla="*/ 833142 w 1666283"/>
              <a:gd name="connsiteY37" fmla="*/ 2068891 h 2266784"/>
              <a:gd name="connsiteX38" fmla="*/ 743804 w 1666283"/>
              <a:gd name="connsiteY38" fmla="*/ 1979553 h 2266784"/>
              <a:gd name="connsiteX39" fmla="*/ 833142 w 1666283"/>
              <a:gd name="connsiteY39" fmla="*/ 1890215 h 2266784"/>
              <a:gd name="connsiteX40" fmla="*/ 647191 w 1666283"/>
              <a:gd name="connsiteY40" fmla="*/ 1890215 h 2266784"/>
              <a:gd name="connsiteX41" fmla="*/ 736529 w 1666283"/>
              <a:gd name="connsiteY41" fmla="*/ 1979553 h 2266784"/>
              <a:gd name="connsiteX42" fmla="*/ 647191 w 1666283"/>
              <a:gd name="connsiteY42" fmla="*/ 2068891 h 2266784"/>
              <a:gd name="connsiteX43" fmla="*/ 557853 w 1666283"/>
              <a:gd name="connsiteY43" fmla="*/ 1979553 h 2266784"/>
              <a:gd name="connsiteX44" fmla="*/ 647191 w 1666283"/>
              <a:gd name="connsiteY44" fmla="*/ 1890215 h 2266784"/>
              <a:gd name="connsiteX45" fmla="*/ 461240 w 1666283"/>
              <a:gd name="connsiteY45" fmla="*/ 1890215 h 2266784"/>
              <a:gd name="connsiteX46" fmla="*/ 550578 w 1666283"/>
              <a:gd name="connsiteY46" fmla="*/ 1979553 h 2266784"/>
              <a:gd name="connsiteX47" fmla="*/ 461240 w 1666283"/>
              <a:gd name="connsiteY47" fmla="*/ 2068891 h 2266784"/>
              <a:gd name="connsiteX48" fmla="*/ 371902 w 1666283"/>
              <a:gd name="connsiteY48" fmla="*/ 1979553 h 2266784"/>
              <a:gd name="connsiteX49" fmla="*/ 461240 w 1666283"/>
              <a:gd name="connsiteY49" fmla="*/ 1890215 h 2266784"/>
              <a:gd name="connsiteX50" fmla="*/ 1205044 w 1666283"/>
              <a:gd name="connsiteY50" fmla="*/ 1699146 h 2266784"/>
              <a:gd name="connsiteX51" fmla="*/ 1294382 w 1666283"/>
              <a:gd name="connsiteY51" fmla="*/ 1788484 h 2266784"/>
              <a:gd name="connsiteX52" fmla="*/ 1205044 w 1666283"/>
              <a:gd name="connsiteY52" fmla="*/ 1877822 h 2266784"/>
              <a:gd name="connsiteX53" fmla="*/ 1115706 w 1666283"/>
              <a:gd name="connsiteY53" fmla="*/ 1788484 h 2266784"/>
              <a:gd name="connsiteX54" fmla="*/ 1205044 w 1666283"/>
              <a:gd name="connsiteY54" fmla="*/ 1699146 h 2266784"/>
              <a:gd name="connsiteX55" fmla="*/ 1019093 w 1666283"/>
              <a:gd name="connsiteY55" fmla="*/ 1699146 h 2266784"/>
              <a:gd name="connsiteX56" fmla="*/ 1108431 w 1666283"/>
              <a:gd name="connsiteY56" fmla="*/ 1788484 h 2266784"/>
              <a:gd name="connsiteX57" fmla="*/ 1019093 w 1666283"/>
              <a:gd name="connsiteY57" fmla="*/ 1877822 h 2266784"/>
              <a:gd name="connsiteX58" fmla="*/ 929755 w 1666283"/>
              <a:gd name="connsiteY58" fmla="*/ 1788484 h 2266784"/>
              <a:gd name="connsiteX59" fmla="*/ 1019093 w 1666283"/>
              <a:gd name="connsiteY59" fmla="*/ 1699146 h 2266784"/>
              <a:gd name="connsiteX60" fmla="*/ 833142 w 1666283"/>
              <a:gd name="connsiteY60" fmla="*/ 1699146 h 2266784"/>
              <a:gd name="connsiteX61" fmla="*/ 922480 w 1666283"/>
              <a:gd name="connsiteY61" fmla="*/ 1788484 h 2266784"/>
              <a:gd name="connsiteX62" fmla="*/ 833142 w 1666283"/>
              <a:gd name="connsiteY62" fmla="*/ 1877822 h 2266784"/>
              <a:gd name="connsiteX63" fmla="*/ 743804 w 1666283"/>
              <a:gd name="connsiteY63" fmla="*/ 1788484 h 2266784"/>
              <a:gd name="connsiteX64" fmla="*/ 833142 w 1666283"/>
              <a:gd name="connsiteY64" fmla="*/ 1699146 h 2266784"/>
              <a:gd name="connsiteX65" fmla="*/ 647191 w 1666283"/>
              <a:gd name="connsiteY65" fmla="*/ 1699146 h 2266784"/>
              <a:gd name="connsiteX66" fmla="*/ 736529 w 1666283"/>
              <a:gd name="connsiteY66" fmla="*/ 1788484 h 2266784"/>
              <a:gd name="connsiteX67" fmla="*/ 647191 w 1666283"/>
              <a:gd name="connsiteY67" fmla="*/ 1877822 h 2266784"/>
              <a:gd name="connsiteX68" fmla="*/ 557853 w 1666283"/>
              <a:gd name="connsiteY68" fmla="*/ 1788484 h 2266784"/>
              <a:gd name="connsiteX69" fmla="*/ 647191 w 1666283"/>
              <a:gd name="connsiteY69" fmla="*/ 1699146 h 2266784"/>
              <a:gd name="connsiteX70" fmla="*/ 461240 w 1666283"/>
              <a:gd name="connsiteY70" fmla="*/ 1699146 h 2266784"/>
              <a:gd name="connsiteX71" fmla="*/ 550578 w 1666283"/>
              <a:gd name="connsiteY71" fmla="*/ 1788484 h 2266784"/>
              <a:gd name="connsiteX72" fmla="*/ 461240 w 1666283"/>
              <a:gd name="connsiteY72" fmla="*/ 1877822 h 2266784"/>
              <a:gd name="connsiteX73" fmla="*/ 371902 w 1666283"/>
              <a:gd name="connsiteY73" fmla="*/ 1788484 h 2266784"/>
              <a:gd name="connsiteX74" fmla="*/ 461240 w 1666283"/>
              <a:gd name="connsiteY74" fmla="*/ 1699146 h 2266784"/>
              <a:gd name="connsiteX75" fmla="*/ 1205044 w 1666283"/>
              <a:gd name="connsiteY75" fmla="*/ 1508078 h 2266784"/>
              <a:gd name="connsiteX76" fmla="*/ 1294382 w 1666283"/>
              <a:gd name="connsiteY76" fmla="*/ 1597416 h 2266784"/>
              <a:gd name="connsiteX77" fmla="*/ 1205044 w 1666283"/>
              <a:gd name="connsiteY77" fmla="*/ 1686754 h 2266784"/>
              <a:gd name="connsiteX78" fmla="*/ 1115706 w 1666283"/>
              <a:gd name="connsiteY78" fmla="*/ 1597416 h 2266784"/>
              <a:gd name="connsiteX79" fmla="*/ 1205044 w 1666283"/>
              <a:gd name="connsiteY79" fmla="*/ 1508078 h 2266784"/>
              <a:gd name="connsiteX80" fmla="*/ 1019093 w 1666283"/>
              <a:gd name="connsiteY80" fmla="*/ 1508078 h 2266784"/>
              <a:gd name="connsiteX81" fmla="*/ 1108431 w 1666283"/>
              <a:gd name="connsiteY81" fmla="*/ 1597416 h 2266784"/>
              <a:gd name="connsiteX82" fmla="*/ 1019093 w 1666283"/>
              <a:gd name="connsiteY82" fmla="*/ 1686754 h 2266784"/>
              <a:gd name="connsiteX83" fmla="*/ 929755 w 1666283"/>
              <a:gd name="connsiteY83" fmla="*/ 1597416 h 2266784"/>
              <a:gd name="connsiteX84" fmla="*/ 1019093 w 1666283"/>
              <a:gd name="connsiteY84" fmla="*/ 1508078 h 2266784"/>
              <a:gd name="connsiteX85" fmla="*/ 833142 w 1666283"/>
              <a:gd name="connsiteY85" fmla="*/ 1508078 h 2266784"/>
              <a:gd name="connsiteX86" fmla="*/ 922480 w 1666283"/>
              <a:gd name="connsiteY86" fmla="*/ 1597416 h 2266784"/>
              <a:gd name="connsiteX87" fmla="*/ 833142 w 1666283"/>
              <a:gd name="connsiteY87" fmla="*/ 1686754 h 2266784"/>
              <a:gd name="connsiteX88" fmla="*/ 743804 w 1666283"/>
              <a:gd name="connsiteY88" fmla="*/ 1597416 h 2266784"/>
              <a:gd name="connsiteX89" fmla="*/ 833142 w 1666283"/>
              <a:gd name="connsiteY89" fmla="*/ 1508078 h 2266784"/>
              <a:gd name="connsiteX90" fmla="*/ 647191 w 1666283"/>
              <a:gd name="connsiteY90" fmla="*/ 1508078 h 2266784"/>
              <a:gd name="connsiteX91" fmla="*/ 736529 w 1666283"/>
              <a:gd name="connsiteY91" fmla="*/ 1597416 h 2266784"/>
              <a:gd name="connsiteX92" fmla="*/ 647191 w 1666283"/>
              <a:gd name="connsiteY92" fmla="*/ 1686754 h 2266784"/>
              <a:gd name="connsiteX93" fmla="*/ 557853 w 1666283"/>
              <a:gd name="connsiteY93" fmla="*/ 1597416 h 2266784"/>
              <a:gd name="connsiteX94" fmla="*/ 647191 w 1666283"/>
              <a:gd name="connsiteY94" fmla="*/ 1508078 h 2266784"/>
              <a:gd name="connsiteX95" fmla="*/ 461240 w 1666283"/>
              <a:gd name="connsiteY95" fmla="*/ 1508078 h 2266784"/>
              <a:gd name="connsiteX96" fmla="*/ 550578 w 1666283"/>
              <a:gd name="connsiteY96" fmla="*/ 1597416 h 2266784"/>
              <a:gd name="connsiteX97" fmla="*/ 461240 w 1666283"/>
              <a:gd name="connsiteY97" fmla="*/ 1686754 h 2266784"/>
              <a:gd name="connsiteX98" fmla="*/ 371902 w 1666283"/>
              <a:gd name="connsiteY98" fmla="*/ 1597416 h 2266784"/>
              <a:gd name="connsiteX99" fmla="*/ 461240 w 1666283"/>
              <a:gd name="connsiteY99" fmla="*/ 1508078 h 2266784"/>
              <a:gd name="connsiteX100" fmla="*/ 1205044 w 1666283"/>
              <a:gd name="connsiteY100" fmla="*/ 1323833 h 2266784"/>
              <a:gd name="connsiteX101" fmla="*/ 1294382 w 1666283"/>
              <a:gd name="connsiteY101" fmla="*/ 1413171 h 2266784"/>
              <a:gd name="connsiteX102" fmla="*/ 1205044 w 1666283"/>
              <a:gd name="connsiteY102" fmla="*/ 1502509 h 2266784"/>
              <a:gd name="connsiteX103" fmla="*/ 1115706 w 1666283"/>
              <a:gd name="connsiteY103" fmla="*/ 1413171 h 2266784"/>
              <a:gd name="connsiteX104" fmla="*/ 1205044 w 1666283"/>
              <a:gd name="connsiteY104" fmla="*/ 1323833 h 2266784"/>
              <a:gd name="connsiteX105" fmla="*/ 1019093 w 1666283"/>
              <a:gd name="connsiteY105" fmla="*/ 1323833 h 2266784"/>
              <a:gd name="connsiteX106" fmla="*/ 1108431 w 1666283"/>
              <a:gd name="connsiteY106" fmla="*/ 1413171 h 2266784"/>
              <a:gd name="connsiteX107" fmla="*/ 1019093 w 1666283"/>
              <a:gd name="connsiteY107" fmla="*/ 1502509 h 2266784"/>
              <a:gd name="connsiteX108" fmla="*/ 929755 w 1666283"/>
              <a:gd name="connsiteY108" fmla="*/ 1413171 h 2266784"/>
              <a:gd name="connsiteX109" fmla="*/ 1019093 w 1666283"/>
              <a:gd name="connsiteY109" fmla="*/ 1323833 h 2266784"/>
              <a:gd name="connsiteX110" fmla="*/ 833142 w 1666283"/>
              <a:gd name="connsiteY110" fmla="*/ 1323833 h 2266784"/>
              <a:gd name="connsiteX111" fmla="*/ 922480 w 1666283"/>
              <a:gd name="connsiteY111" fmla="*/ 1413171 h 2266784"/>
              <a:gd name="connsiteX112" fmla="*/ 833142 w 1666283"/>
              <a:gd name="connsiteY112" fmla="*/ 1502509 h 2266784"/>
              <a:gd name="connsiteX113" fmla="*/ 743804 w 1666283"/>
              <a:gd name="connsiteY113" fmla="*/ 1413171 h 2266784"/>
              <a:gd name="connsiteX114" fmla="*/ 833142 w 1666283"/>
              <a:gd name="connsiteY114" fmla="*/ 1323833 h 2266784"/>
              <a:gd name="connsiteX115" fmla="*/ 647191 w 1666283"/>
              <a:gd name="connsiteY115" fmla="*/ 1323833 h 2266784"/>
              <a:gd name="connsiteX116" fmla="*/ 736529 w 1666283"/>
              <a:gd name="connsiteY116" fmla="*/ 1413171 h 2266784"/>
              <a:gd name="connsiteX117" fmla="*/ 647191 w 1666283"/>
              <a:gd name="connsiteY117" fmla="*/ 1502509 h 2266784"/>
              <a:gd name="connsiteX118" fmla="*/ 557853 w 1666283"/>
              <a:gd name="connsiteY118" fmla="*/ 1413171 h 2266784"/>
              <a:gd name="connsiteX119" fmla="*/ 647191 w 1666283"/>
              <a:gd name="connsiteY119" fmla="*/ 1323833 h 2266784"/>
              <a:gd name="connsiteX120" fmla="*/ 461240 w 1666283"/>
              <a:gd name="connsiteY120" fmla="*/ 1323833 h 2266784"/>
              <a:gd name="connsiteX121" fmla="*/ 550578 w 1666283"/>
              <a:gd name="connsiteY121" fmla="*/ 1413171 h 2266784"/>
              <a:gd name="connsiteX122" fmla="*/ 461240 w 1666283"/>
              <a:gd name="connsiteY122" fmla="*/ 1502509 h 2266784"/>
              <a:gd name="connsiteX123" fmla="*/ 371902 w 1666283"/>
              <a:gd name="connsiteY123" fmla="*/ 1413171 h 2266784"/>
              <a:gd name="connsiteX124" fmla="*/ 461240 w 1666283"/>
              <a:gd name="connsiteY124" fmla="*/ 1323833 h 2266784"/>
              <a:gd name="connsiteX125" fmla="*/ 1205044 w 1666283"/>
              <a:gd name="connsiteY125" fmla="*/ 1132764 h 2266784"/>
              <a:gd name="connsiteX126" fmla="*/ 1294382 w 1666283"/>
              <a:gd name="connsiteY126" fmla="*/ 1222102 h 2266784"/>
              <a:gd name="connsiteX127" fmla="*/ 1205044 w 1666283"/>
              <a:gd name="connsiteY127" fmla="*/ 1311440 h 2266784"/>
              <a:gd name="connsiteX128" fmla="*/ 1115706 w 1666283"/>
              <a:gd name="connsiteY128" fmla="*/ 1222102 h 2266784"/>
              <a:gd name="connsiteX129" fmla="*/ 1205044 w 1666283"/>
              <a:gd name="connsiteY129" fmla="*/ 1132764 h 2266784"/>
              <a:gd name="connsiteX130" fmla="*/ 1019093 w 1666283"/>
              <a:gd name="connsiteY130" fmla="*/ 1132764 h 2266784"/>
              <a:gd name="connsiteX131" fmla="*/ 1108431 w 1666283"/>
              <a:gd name="connsiteY131" fmla="*/ 1222102 h 2266784"/>
              <a:gd name="connsiteX132" fmla="*/ 1019093 w 1666283"/>
              <a:gd name="connsiteY132" fmla="*/ 1311440 h 2266784"/>
              <a:gd name="connsiteX133" fmla="*/ 929755 w 1666283"/>
              <a:gd name="connsiteY133" fmla="*/ 1222102 h 2266784"/>
              <a:gd name="connsiteX134" fmla="*/ 1019093 w 1666283"/>
              <a:gd name="connsiteY134" fmla="*/ 1132764 h 2266784"/>
              <a:gd name="connsiteX135" fmla="*/ 833142 w 1666283"/>
              <a:gd name="connsiteY135" fmla="*/ 1132764 h 2266784"/>
              <a:gd name="connsiteX136" fmla="*/ 922480 w 1666283"/>
              <a:gd name="connsiteY136" fmla="*/ 1222102 h 2266784"/>
              <a:gd name="connsiteX137" fmla="*/ 833142 w 1666283"/>
              <a:gd name="connsiteY137" fmla="*/ 1311440 h 2266784"/>
              <a:gd name="connsiteX138" fmla="*/ 743804 w 1666283"/>
              <a:gd name="connsiteY138" fmla="*/ 1222102 h 2266784"/>
              <a:gd name="connsiteX139" fmla="*/ 833142 w 1666283"/>
              <a:gd name="connsiteY139" fmla="*/ 1132764 h 2266784"/>
              <a:gd name="connsiteX140" fmla="*/ 647191 w 1666283"/>
              <a:gd name="connsiteY140" fmla="*/ 1132764 h 2266784"/>
              <a:gd name="connsiteX141" fmla="*/ 736529 w 1666283"/>
              <a:gd name="connsiteY141" fmla="*/ 1222102 h 2266784"/>
              <a:gd name="connsiteX142" fmla="*/ 647191 w 1666283"/>
              <a:gd name="connsiteY142" fmla="*/ 1311440 h 2266784"/>
              <a:gd name="connsiteX143" fmla="*/ 557853 w 1666283"/>
              <a:gd name="connsiteY143" fmla="*/ 1222102 h 2266784"/>
              <a:gd name="connsiteX144" fmla="*/ 647191 w 1666283"/>
              <a:gd name="connsiteY144" fmla="*/ 1132764 h 2266784"/>
              <a:gd name="connsiteX145" fmla="*/ 461240 w 1666283"/>
              <a:gd name="connsiteY145" fmla="*/ 1132764 h 2266784"/>
              <a:gd name="connsiteX146" fmla="*/ 550578 w 1666283"/>
              <a:gd name="connsiteY146" fmla="*/ 1222102 h 2266784"/>
              <a:gd name="connsiteX147" fmla="*/ 461240 w 1666283"/>
              <a:gd name="connsiteY147" fmla="*/ 1311440 h 2266784"/>
              <a:gd name="connsiteX148" fmla="*/ 371902 w 1666283"/>
              <a:gd name="connsiteY148" fmla="*/ 1222102 h 2266784"/>
              <a:gd name="connsiteX149" fmla="*/ 461240 w 1666283"/>
              <a:gd name="connsiteY149" fmla="*/ 1132764 h 2266784"/>
              <a:gd name="connsiteX150" fmla="*/ 1205044 w 1666283"/>
              <a:gd name="connsiteY150" fmla="*/ 941696 h 2266784"/>
              <a:gd name="connsiteX151" fmla="*/ 1294382 w 1666283"/>
              <a:gd name="connsiteY151" fmla="*/ 1031034 h 2266784"/>
              <a:gd name="connsiteX152" fmla="*/ 1205044 w 1666283"/>
              <a:gd name="connsiteY152" fmla="*/ 1120372 h 2266784"/>
              <a:gd name="connsiteX153" fmla="*/ 1115706 w 1666283"/>
              <a:gd name="connsiteY153" fmla="*/ 1031034 h 2266784"/>
              <a:gd name="connsiteX154" fmla="*/ 1205044 w 1666283"/>
              <a:gd name="connsiteY154" fmla="*/ 941696 h 2266784"/>
              <a:gd name="connsiteX155" fmla="*/ 1019093 w 1666283"/>
              <a:gd name="connsiteY155" fmla="*/ 941696 h 2266784"/>
              <a:gd name="connsiteX156" fmla="*/ 1108431 w 1666283"/>
              <a:gd name="connsiteY156" fmla="*/ 1031034 h 2266784"/>
              <a:gd name="connsiteX157" fmla="*/ 1019093 w 1666283"/>
              <a:gd name="connsiteY157" fmla="*/ 1120372 h 2266784"/>
              <a:gd name="connsiteX158" fmla="*/ 929755 w 1666283"/>
              <a:gd name="connsiteY158" fmla="*/ 1031034 h 2266784"/>
              <a:gd name="connsiteX159" fmla="*/ 1019093 w 1666283"/>
              <a:gd name="connsiteY159" fmla="*/ 941696 h 2266784"/>
              <a:gd name="connsiteX160" fmla="*/ 833142 w 1666283"/>
              <a:gd name="connsiteY160" fmla="*/ 941696 h 2266784"/>
              <a:gd name="connsiteX161" fmla="*/ 922480 w 1666283"/>
              <a:gd name="connsiteY161" fmla="*/ 1031034 h 2266784"/>
              <a:gd name="connsiteX162" fmla="*/ 833142 w 1666283"/>
              <a:gd name="connsiteY162" fmla="*/ 1120372 h 2266784"/>
              <a:gd name="connsiteX163" fmla="*/ 743804 w 1666283"/>
              <a:gd name="connsiteY163" fmla="*/ 1031034 h 2266784"/>
              <a:gd name="connsiteX164" fmla="*/ 833142 w 1666283"/>
              <a:gd name="connsiteY164" fmla="*/ 941696 h 2266784"/>
              <a:gd name="connsiteX165" fmla="*/ 647191 w 1666283"/>
              <a:gd name="connsiteY165" fmla="*/ 941696 h 2266784"/>
              <a:gd name="connsiteX166" fmla="*/ 736529 w 1666283"/>
              <a:gd name="connsiteY166" fmla="*/ 1031034 h 2266784"/>
              <a:gd name="connsiteX167" fmla="*/ 647191 w 1666283"/>
              <a:gd name="connsiteY167" fmla="*/ 1120372 h 2266784"/>
              <a:gd name="connsiteX168" fmla="*/ 557853 w 1666283"/>
              <a:gd name="connsiteY168" fmla="*/ 1031034 h 2266784"/>
              <a:gd name="connsiteX169" fmla="*/ 647191 w 1666283"/>
              <a:gd name="connsiteY169" fmla="*/ 941696 h 2266784"/>
              <a:gd name="connsiteX170" fmla="*/ 461240 w 1666283"/>
              <a:gd name="connsiteY170" fmla="*/ 941696 h 2266784"/>
              <a:gd name="connsiteX171" fmla="*/ 550578 w 1666283"/>
              <a:gd name="connsiteY171" fmla="*/ 1031034 h 2266784"/>
              <a:gd name="connsiteX172" fmla="*/ 461240 w 1666283"/>
              <a:gd name="connsiteY172" fmla="*/ 1120372 h 2266784"/>
              <a:gd name="connsiteX173" fmla="*/ 371902 w 1666283"/>
              <a:gd name="connsiteY173" fmla="*/ 1031034 h 2266784"/>
              <a:gd name="connsiteX174" fmla="*/ 461240 w 1666283"/>
              <a:gd name="connsiteY174" fmla="*/ 941696 h 2266784"/>
              <a:gd name="connsiteX175" fmla="*/ 1576945 w 1666283"/>
              <a:gd name="connsiteY175" fmla="*/ 750627 h 2266784"/>
              <a:gd name="connsiteX176" fmla="*/ 1666283 w 1666283"/>
              <a:gd name="connsiteY176" fmla="*/ 839965 h 2266784"/>
              <a:gd name="connsiteX177" fmla="*/ 1576945 w 1666283"/>
              <a:gd name="connsiteY177" fmla="*/ 929303 h 2266784"/>
              <a:gd name="connsiteX178" fmla="*/ 1487607 w 1666283"/>
              <a:gd name="connsiteY178" fmla="*/ 839965 h 2266784"/>
              <a:gd name="connsiteX179" fmla="*/ 1576945 w 1666283"/>
              <a:gd name="connsiteY179" fmla="*/ 750627 h 2266784"/>
              <a:gd name="connsiteX180" fmla="*/ 1390995 w 1666283"/>
              <a:gd name="connsiteY180" fmla="*/ 750627 h 2266784"/>
              <a:gd name="connsiteX181" fmla="*/ 1480333 w 1666283"/>
              <a:gd name="connsiteY181" fmla="*/ 839965 h 2266784"/>
              <a:gd name="connsiteX182" fmla="*/ 1390995 w 1666283"/>
              <a:gd name="connsiteY182" fmla="*/ 929303 h 2266784"/>
              <a:gd name="connsiteX183" fmla="*/ 1301657 w 1666283"/>
              <a:gd name="connsiteY183" fmla="*/ 839965 h 2266784"/>
              <a:gd name="connsiteX184" fmla="*/ 1390995 w 1666283"/>
              <a:gd name="connsiteY184" fmla="*/ 750627 h 2266784"/>
              <a:gd name="connsiteX185" fmla="*/ 1205044 w 1666283"/>
              <a:gd name="connsiteY185" fmla="*/ 750627 h 2266784"/>
              <a:gd name="connsiteX186" fmla="*/ 1294382 w 1666283"/>
              <a:gd name="connsiteY186" fmla="*/ 839965 h 2266784"/>
              <a:gd name="connsiteX187" fmla="*/ 1205044 w 1666283"/>
              <a:gd name="connsiteY187" fmla="*/ 929303 h 2266784"/>
              <a:gd name="connsiteX188" fmla="*/ 1115706 w 1666283"/>
              <a:gd name="connsiteY188" fmla="*/ 839965 h 2266784"/>
              <a:gd name="connsiteX189" fmla="*/ 1205044 w 1666283"/>
              <a:gd name="connsiteY189" fmla="*/ 750627 h 2266784"/>
              <a:gd name="connsiteX190" fmla="*/ 1019093 w 1666283"/>
              <a:gd name="connsiteY190" fmla="*/ 750627 h 2266784"/>
              <a:gd name="connsiteX191" fmla="*/ 1108431 w 1666283"/>
              <a:gd name="connsiteY191" fmla="*/ 839965 h 2266784"/>
              <a:gd name="connsiteX192" fmla="*/ 1019093 w 1666283"/>
              <a:gd name="connsiteY192" fmla="*/ 929303 h 2266784"/>
              <a:gd name="connsiteX193" fmla="*/ 929755 w 1666283"/>
              <a:gd name="connsiteY193" fmla="*/ 839965 h 2266784"/>
              <a:gd name="connsiteX194" fmla="*/ 1019093 w 1666283"/>
              <a:gd name="connsiteY194" fmla="*/ 750627 h 2266784"/>
              <a:gd name="connsiteX195" fmla="*/ 833142 w 1666283"/>
              <a:gd name="connsiteY195" fmla="*/ 750627 h 2266784"/>
              <a:gd name="connsiteX196" fmla="*/ 922480 w 1666283"/>
              <a:gd name="connsiteY196" fmla="*/ 839965 h 2266784"/>
              <a:gd name="connsiteX197" fmla="*/ 833142 w 1666283"/>
              <a:gd name="connsiteY197" fmla="*/ 929303 h 2266784"/>
              <a:gd name="connsiteX198" fmla="*/ 743804 w 1666283"/>
              <a:gd name="connsiteY198" fmla="*/ 839965 h 2266784"/>
              <a:gd name="connsiteX199" fmla="*/ 833142 w 1666283"/>
              <a:gd name="connsiteY199" fmla="*/ 750627 h 2266784"/>
              <a:gd name="connsiteX200" fmla="*/ 647191 w 1666283"/>
              <a:gd name="connsiteY200" fmla="*/ 750627 h 2266784"/>
              <a:gd name="connsiteX201" fmla="*/ 736529 w 1666283"/>
              <a:gd name="connsiteY201" fmla="*/ 839965 h 2266784"/>
              <a:gd name="connsiteX202" fmla="*/ 647191 w 1666283"/>
              <a:gd name="connsiteY202" fmla="*/ 929303 h 2266784"/>
              <a:gd name="connsiteX203" fmla="*/ 557853 w 1666283"/>
              <a:gd name="connsiteY203" fmla="*/ 839965 h 2266784"/>
              <a:gd name="connsiteX204" fmla="*/ 647191 w 1666283"/>
              <a:gd name="connsiteY204" fmla="*/ 750627 h 2266784"/>
              <a:gd name="connsiteX205" fmla="*/ 461240 w 1666283"/>
              <a:gd name="connsiteY205" fmla="*/ 750627 h 2266784"/>
              <a:gd name="connsiteX206" fmla="*/ 550578 w 1666283"/>
              <a:gd name="connsiteY206" fmla="*/ 839965 h 2266784"/>
              <a:gd name="connsiteX207" fmla="*/ 461240 w 1666283"/>
              <a:gd name="connsiteY207" fmla="*/ 929303 h 2266784"/>
              <a:gd name="connsiteX208" fmla="*/ 371902 w 1666283"/>
              <a:gd name="connsiteY208" fmla="*/ 839965 h 2266784"/>
              <a:gd name="connsiteX209" fmla="*/ 461240 w 1666283"/>
              <a:gd name="connsiteY209" fmla="*/ 750627 h 2266784"/>
              <a:gd name="connsiteX210" fmla="*/ 275289 w 1666283"/>
              <a:gd name="connsiteY210" fmla="*/ 750627 h 2266784"/>
              <a:gd name="connsiteX211" fmla="*/ 364627 w 1666283"/>
              <a:gd name="connsiteY211" fmla="*/ 839965 h 2266784"/>
              <a:gd name="connsiteX212" fmla="*/ 275289 w 1666283"/>
              <a:gd name="connsiteY212" fmla="*/ 929303 h 2266784"/>
              <a:gd name="connsiteX213" fmla="*/ 185951 w 1666283"/>
              <a:gd name="connsiteY213" fmla="*/ 839965 h 2266784"/>
              <a:gd name="connsiteX214" fmla="*/ 275289 w 1666283"/>
              <a:gd name="connsiteY214" fmla="*/ 750627 h 2266784"/>
              <a:gd name="connsiteX215" fmla="*/ 89338 w 1666283"/>
              <a:gd name="connsiteY215" fmla="*/ 750627 h 2266784"/>
              <a:gd name="connsiteX216" fmla="*/ 178676 w 1666283"/>
              <a:gd name="connsiteY216" fmla="*/ 839965 h 2266784"/>
              <a:gd name="connsiteX217" fmla="*/ 89338 w 1666283"/>
              <a:gd name="connsiteY217" fmla="*/ 929303 h 2266784"/>
              <a:gd name="connsiteX218" fmla="*/ 0 w 1666283"/>
              <a:gd name="connsiteY218" fmla="*/ 839965 h 2266784"/>
              <a:gd name="connsiteX219" fmla="*/ 89338 w 1666283"/>
              <a:gd name="connsiteY219" fmla="*/ 750627 h 2266784"/>
              <a:gd name="connsiteX220" fmla="*/ 1390995 w 1666283"/>
              <a:gd name="connsiteY220" fmla="*/ 559559 h 2266784"/>
              <a:gd name="connsiteX221" fmla="*/ 1480333 w 1666283"/>
              <a:gd name="connsiteY221" fmla="*/ 648897 h 2266784"/>
              <a:gd name="connsiteX222" fmla="*/ 1390995 w 1666283"/>
              <a:gd name="connsiteY222" fmla="*/ 738235 h 2266784"/>
              <a:gd name="connsiteX223" fmla="*/ 1301657 w 1666283"/>
              <a:gd name="connsiteY223" fmla="*/ 648897 h 2266784"/>
              <a:gd name="connsiteX224" fmla="*/ 1390995 w 1666283"/>
              <a:gd name="connsiteY224" fmla="*/ 559559 h 2266784"/>
              <a:gd name="connsiteX225" fmla="*/ 1205044 w 1666283"/>
              <a:gd name="connsiteY225" fmla="*/ 559559 h 2266784"/>
              <a:gd name="connsiteX226" fmla="*/ 1294382 w 1666283"/>
              <a:gd name="connsiteY226" fmla="*/ 648897 h 2266784"/>
              <a:gd name="connsiteX227" fmla="*/ 1205044 w 1666283"/>
              <a:gd name="connsiteY227" fmla="*/ 738235 h 2266784"/>
              <a:gd name="connsiteX228" fmla="*/ 1115706 w 1666283"/>
              <a:gd name="connsiteY228" fmla="*/ 648897 h 2266784"/>
              <a:gd name="connsiteX229" fmla="*/ 1205044 w 1666283"/>
              <a:gd name="connsiteY229" fmla="*/ 559559 h 2266784"/>
              <a:gd name="connsiteX230" fmla="*/ 1019093 w 1666283"/>
              <a:gd name="connsiteY230" fmla="*/ 559559 h 2266784"/>
              <a:gd name="connsiteX231" fmla="*/ 1108431 w 1666283"/>
              <a:gd name="connsiteY231" fmla="*/ 648897 h 2266784"/>
              <a:gd name="connsiteX232" fmla="*/ 1019093 w 1666283"/>
              <a:gd name="connsiteY232" fmla="*/ 738235 h 2266784"/>
              <a:gd name="connsiteX233" fmla="*/ 929755 w 1666283"/>
              <a:gd name="connsiteY233" fmla="*/ 648897 h 2266784"/>
              <a:gd name="connsiteX234" fmla="*/ 1019093 w 1666283"/>
              <a:gd name="connsiteY234" fmla="*/ 559559 h 2266784"/>
              <a:gd name="connsiteX235" fmla="*/ 833142 w 1666283"/>
              <a:gd name="connsiteY235" fmla="*/ 559559 h 2266784"/>
              <a:gd name="connsiteX236" fmla="*/ 922480 w 1666283"/>
              <a:gd name="connsiteY236" fmla="*/ 648897 h 2266784"/>
              <a:gd name="connsiteX237" fmla="*/ 833142 w 1666283"/>
              <a:gd name="connsiteY237" fmla="*/ 738235 h 2266784"/>
              <a:gd name="connsiteX238" fmla="*/ 743804 w 1666283"/>
              <a:gd name="connsiteY238" fmla="*/ 648897 h 2266784"/>
              <a:gd name="connsiteX239" fmla="*/ 833142 w 1666283"/>
              <a:gd name="connsiteY239" fmla="*/ 559559 h 2266784"/>
              <a:gd name="connsiteX240" fmla="*/ 647191 w 1666283"/>
              <a:gd name="connsiteY240" fmla="*/ 559559 h 2266784"/>
              <a:gd name="connsiteX241" fmla="*/ 736529 w 1666283"/>
              <a:gd name="connsiteY241" fmla="*/ 648897 h 2266784"/>
              <a:gd name="connsiteX242" fmla="*/ 647191 w 1666283"/>
              <a:gd name="connsiteY242" fmla="*/ 738235 h 2266784"/>
              <a:gd name="connsiteX243" fmla="*/ 557853 w 1666283"/>
              <a:gd name="connsiteY243" fmla="*/ 648897 h 2266784"/>
              <a:gd name="connsiteX244" fmla="*/ 647191 w 1666283"/>
              <a:gd name="connsiteY244" fmla="*/ 559559 h 2266784"/>
              <a:gd name="connsiteX245" fmla="*/ 461240 w 1666283"/>
              <a:gd name="connsiteY245" fmla="*/ 559559 h 2266784"/>
              <a:gd name="connsiteX246" fmla="*/ 550578 w 1666283"/>
              <a:gd name="connsiteY246" fmla="*/ 648897 h 2266784"/>
              <a:gd name="connsiteX247" fmla="*/ 461240 w 1666283"/>
              <a:gd name="connsiteY247" fmla="*/ 738235 h 2266784"/>
              <a:gd name="connsiteX248" fmla="*/ 371902 w 1666283"/>
              <a:gd name="connsiteY248" fmla="*/ 648897 h 2266784"/>
              <a:gd name="connsiteX249" fmla="*/ 461240 w 1666283"/>
              <a:gd name="connsiteY249" fmla="*/ 559559 h 2266784"/>
              <a:gd name="connsiteX250" fmla="*/ 275289 w 1666283"/>
              <a:gd name="connsiteY250" fmla="*/ 559559 h 2266784"/>
              <a:gd name="connsiteX251" fmla="*/ 364627 w 1666283"/>
              <a:gd name="connsiteY251" fmla="*/ 648897 h 2266784"/>
              <a:gd name="connsiteX252" fmla="*/ 275289 w 1666283"/>
              <a:gd name="connsiteY252" fmla="*/ 738235 h 2266784"/>
              <a:gd name="connsiteX253" fmla="*/ 185951 w 1666283"/>
              <a:gd name="connsiteY253" fmla="*/ 648897 h 2266784"/>
              <a:gd name="connsiteX254" fmla="*/ 275289 w 1666283"/>
              <a:gd name="connsiteY254" fmla="*/ 559559 h 2266784"/>
              <a:gd name="connsiteX255" fmla="*/ 1205044 w 1666283"/>
              <a:gd name="connsiteY255" fmla="*/ 368490 h 2266784"/>
              <a:gd name="connsiteX256" fmla="*/ 1294382 w 1666283"/>
              <a:gd name="connsiteY256" fmla="*/ 457828 h 2266784"/>
              <a:gd name="connsiteX257" fmla="*/ 1205044 w 1666283"/>
              <a:gd name="connsiteY257" fmla="*/ 547166 h 2266784"/>
              <a:gd name="connsiteX258" fmla="*/ 1115706 w 1666283"/>
              <a:gd name="connsiteY258" fmla="*/ 457828 h 2266784"/>
              <a:gd name="connsiteX259" fmla="*/ 1205044 w 1666283"/>
              <a:gd name="connsiteY259" fmla="*/ 368490 h 2266784"/>
              <a:gd name="connsiteX260" fmla="*/ 1019093 w 1666283"/>
              <a:gd name="connsiteY260" fmla="*/ 368490 h 2266784"/>
              <a:gd name="connsiteX261" fmla="*/ 1108431 w 1666283"/>
              <a:gd name="connsiteY261" fmla="*/ 457828 h 2266784"/>
              <a:gd name="connsiteX262" fmla="*/ 1019093 w 1666283"/>
              <a:gd name="connsiteY262" fmla="*/ 547166 h 2266784"/>
              <a:gd name="connsiteX263" fmla="*/ 929755 w 1666283"/>
              <a:gd name="connsiteY263" fmla="*/ 457828 h 2266784"/>
              <a:gd name="connsiteX264" fmla="*/ 1019093 w 1666283"/>
              <a:gd name="connsiteY264" fmla="*/ 368490 h 2266784"/>
              <a:gd name="connsiteX265" fmla="*/ 833142 w 1666283"/>
              <a:gd name="connsiteY265" fmla="*/ 368490 h 2266784"/>
              <a:gd name="connsiteX266" fmla="*/ 922480 w 1666283"/>
              <a:gd name="connsiteY266" fmla="*/ 457828 h 2266784"/>
              <a:gd name="connsiteX267" fmla="*/ 833142 w 1666283"/>
              <a:gd name="connsiteY267" fmla="*/ 547166 h 2266784"/>
              <a:gd name="connsiteX268" fmla="*/ 743804 w 1666283"/>
              <a:gd name="connsiteY268" fmla="*/ 457828 h 2266784"/>
              <a:gd name="connsiteX269" fmla="*/ 833142 w 1666283"/>
              <a:gd name="connsiteY269" fmla="*/ 368490 h 2266784"/>
              <a:gd name="connsiteX270" fmla="*/ 647191 w 1666283"/>
              <a:gd name="connsiteY270" fmla="*/ 368490 h 2266784"/>
              <a:gd name="connsiteX271" fmla="*/ 736529 w 1666283"/>
              <a:gd name="connsiteY271" fmla="*/ 457828 h 2266784"/>
              <a:gd name="connsiteX272" fmla="*/ 647191 w 1666283"/>
              <a:gd name="connsiteY272" fmla="*/ 547166 h 2266784"/>
              <a:gd name="connsiteX273" fmla="*/ 557853 w 1666283"/>
              <a:gd name="connsiteY273" fmla="*/ 457828 h 2266784"/>
              <a:gd name="connsiteX274" fmla="*/ 647191 w 1666283"/>
              <a:gd name="connsiteY274" fmla="*/ 368490 h 2266784"/>
              <a:gd name="connsiteX275" fmla="*/ 461240 w 1666283"/>
              <a:gd name="connsiteY275" fmla="*/ 368490 h 2266784"/>
              <a:gd name="connsiteX276" fmla="*/ 550578 w 1666283"/>
              <a:gd name="connsiteY276" fmla="*/ 457828 h 2266784"/>
              <a:gd name="connsiteX277" fmla="*/ 461240 w 1666283"/>
              <a:gd name="connsiteY277" fmla="*/ 547166 h 2266784"/>
              <a:gd name="connsiteX278" fmla="*/ 371902 w 1666283"/>
              <a:gd name="connsiteY278" fmla="*/ 457828 h 2266784"/>
              <a:gd name="connsiteX279" fmla="*/ 461240 w 1666283"/>
              <a:gd name="connsiteY279" fmla="*/ 368490 h 2266784"/>
              <a:gd name="connsiteX280" fmla="*/ 1019093 w 1666283"/>
              <a:gd name="connsiteY280" fmla="*/ 184245 h 2266784"/>
              <a:gd name="connsiteX281" fmla="*/ 1108431 w 1666283"/>
              <a:gd name="connsiteY281" fmla="*/ 273583 h 2266784"/>
              <a:gd name="connsiteX282" fmla="*/ 1019093 w 1666283"/>
              <a:gd name="connsiteY282" fmla="*/ 362921 h 2266784"/>
              <a:gd name="connsiteX283" fmla="*/ 929755 w 1666283"/>
              <a:gd name="connsiteY283" fmla="*/ 273583 h 2266784"/>
              <a:gd name="connsiteX284" fmla="*/ 1019093 w 1666283"/>
              <a:gd name="connsiteY284" fmla="*/ 184245 h 2266784"/>
              <a:gd name="connsiteX285" fmla="*/ 833142 w 1666283"/>
              <a:gd name="connsiteY285" fmla="*/ 184245 h 2266784"/>
              <a:gd name="connsiteX286" fmla="*/ 922480 w 1666283"/>
              <a:gd name="connsiteY286" fmla="*/ 273583 h 2266784"/>
              <a:gd name="connsiteX287" fmla="*/ 833142 w 1666283"/>
              <a:gd name="connsiteY287" fmla="*/ 362921 h 2266784"/>
              <a:gd name="connsiteX288" fmla="*/ 743804 w 1666283"/>
              <a:gd name="connsiteY288" fmla="*/ 273583 h 2266784"/>
              <a:gd name="connsiteX289" fmla="*/ 833142 w 1666283"/>
              <a:gd name="connsiteY289" fmla="*/ 184245 h 2266784"/>
              <a:gd name="connsiteX290" fmla="*/ 647191 w 1666283"/>
              <a:gd name="connsiteY290" fmla="*/ 184245 h 2266784"/>
              <a:gd name="connsiteX291" fmla="*/ 736529 w 1666283"/>
              <a:gd name="connsiteY291" fmla="*/ 273583 h 2266784"/>
              <a:gd name="connsiteX292" fmla="*/ 647191 w 1666283"/>
              <a:gd name="connsiteY292" fmla="*/ 362921 h 2266784"/>
              <a:gd name="connsiteX293" fmla="*/ 557853 w 1666283"/>
              <a:gd name="connsiteY293" fmla="*/ 273583 h 2266784"/>
              <a:gd name="connsiteX294" fmla="*/ 647191 w 1666283"/>
              <a:gd name="connsiteY294" fmla="*/ 184245 h 2266784"/>
              <a:gd name="connsiteX295" fmla="*/ 833142 w 1666283"/>
              <a:gd name="connsiteY295" fmla="*/ 0 h 2266784"/>
              <a:gd name="connsiteX296" fmla="*/ 922480 w 1666283"/>
              <a:gd name="connsiteY296" fmla="*/ 89338 h 2266784"/>
              <a:gd name="connsiteX297" fmla="*/ 833142 w 1666283"/>
              <a:gd name="connsiteY297" fmla="*/ 178676 h 2266784"/>
              <a:gd name="connsiteX298" fmla="*/ 743804 w 1666283"/>
              <a:gd name="connsiteY298" fmla="*/ 89338 h 2266784"/>
              <a:gd name="connsiteX299" fmla="*/ 833142 w 1666283"/>
              <a:gd name="connsiteY299" fmla="*/ 0 h 22667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Lst>
            <a:rect l="l" t="t" r="r" b="b"/>
            <a:pathLst>
              <a:path w="1666283" h="2266784">
                <a:moveTo>
                  <a:pt x="1205044" y="2088108"/>
                </a:moveTo>
                <a:cubicBezTo>
                  <a:pt x="1254384" y="2088108"/>
                  <a:pt x="1294382" y="2128106"/>
                  <a:pt x="1294382" y="2177446"/>
                </a:cubicBezTo>
                <a:cubicBezTo>
                  <a:pt x="1294382" y="2226786"/>
                  <a:pt x="1254384" y="2266784"/>
                  <a:pt x="1205044" y="2266784"/>
                </a:cubicBezTo>
                <a:cubicBezTo>
                  <a:pt x="1155704" y="2266784"/>
                  <a:pt x="1115706" y="2226786"/>
                  <a:pt x="1115706" y="2177446"/>
                </a:cubicBezTo>
                <a:cubicBezTo>
                  <a:pt x="1115706" y="2128106"/>
                  <a:pt x="1155704" y="2088108"/>
                  <a:pt x="1205044" y="2088108"/>
                </a:cubicBezTo>
                <a:close/>
                <a:moveTo>
                  <a:pt x="1019093" y="2088108"/>
                </a:moveTo>
                <a:cubicBezTo>
                  <a:pt x="1068433" y="2088108"/>
                  <a:pt x="1108431" y="2128106"/>
                  <a:pt x="1108431" y="2177446"/>
                </a:cubicBezTo>
                <a:cubicBezTo>
                  <a:pt x="1108431" y="2226786"/>
                  <a:pt x="1068433" y="2266784"/>
                  <a:pt x="1019093" y="2266784"/>
                </a:cubicBezTo>
                <a:cubicBezTo>
                  <a:pt x="969753" y="2266784"/>
                  <a:pt x="929755" y="2226786"/>
                  <a:pt x="929755" y="2177446"/>
                </a:cubicBezTo>
                <a:cubicBezTo>
                  <a:pt x="929755" y="2128106"/>
                  <a:pt x="969753" y="2088108"/>
                  <a:pt x="1019093" y="2088108"/>
                </a:cubicBezTo>
                <a:close/>
                <a:moveTo>
                  <a:pt x="833142" y="2088108"/>
                </a:moveTo>
                <a:cubicBezTo>
                  <a:pt x="882482" y="2088108"/>
                  <a:pt x="922480" y="2128106"/>
                  <a:pt x="922480" y="2177446"/>
                </a:cubicBezTo>
                <a:cubicBezTo>
                  <a:pt x="922480" y="2226786"/>
                  <a:pt x="882482" y="2266784"/>
                  <a:pt x="833142" y="2266784"/>
                </a:cubicBezTo>
                <a:cubicBezTo>
                  <a:pt x="783802" y="2266784"/>
                  <a:pt x="743804" y="2226786"/>
                  <a:pt x="743804" y="2177446"/>
                </a:cubicBezTo>
                <a:cubicBezTo>
                  <a:pt x="743804" y="2128106"/>
                  <a:pt x="783802" y="2088108"/>
                  <a:pt x="833142" y="2088108"/>
                </a:cubicBezTo>
                <a:close/>
                <a:moveTo>
                  <a:pt x="647191" y="2088108"/>
                </a:moveTo>
                <a:cubicBezTo>
                  <a:pt x="696531" y="2088108"/>
                  <a:pt x="736529" y="2128106"/>
                  <a:pt x="736529" y="2177446"/>
                </a:cubicBezTo>
                <a:cubicBezTo>
                  <a:pt x="736529" y="2226786"/>
                  <a:pt x="696531" y="2266784"/>
                  <a:pt x="647191" y="2266784"/>
                </a:cubicBezTo>
                <a:cubicBezTo>
                  <a:pt x="597851" y="2266784"/>
                  <a:pt x="557853" y="2226786"/>
                  <a:pt x="557853" y="2177446"/>
                </a:cubicBezTo>
                <a:cubicBezTo>
                  <a:pt x="557853" y="2128106"/>
                  <a:pt x="597851" y="2088108"/>
                  <a:pt x="647191" y="2088108"/>
                </a:cubicBezTo>
                <a:close/>
                <a:moveTo>
                  <a:pt x="461240" y="2088108"/>
                </a:moveTo>
                <a:cubicBezTo>
                  <a:pt x="510580" y="2088108"/>
                  <a:pt x="550578" y="2128106"/>
                  <a:pt x="550578" y="2177446"/>
                </a:cubicBezTo>
                <a:cubicBezTo>
                  <a:pt x="550578" y="2226786"/>
                  <a:pt x="510580" y="2266784"/>
                  <a:pt x="461240" y="2266784"/>
                </a:cubicBezTo>
                <a:cubicBezTo>
                  <a:pt x="411900" y="2266784"/>
                  <a:pt x="371902" y="2226786"/>
                  <a:pt x="371902" y="2177446"/>
                </a:cubicBezTo>
                <a:cubicBezTo>
                  <a:pt x="371902" y="2128106"/>
                  <a:pt x="411900" y="2088108"/>
                  <a:pt x="461240" y="2088108"/>
                </a:cubicBezTo>
                <a:close/>
                <a:moveTo>
                  <a:pt x="1205044" y="1890215"/>
                </a:moveTo>
                <a:cubicBezTo>
                  <a:pt x="1254384" y="1890215"/>
                  <a:pt x="1294382" y="1930213"/>
                  <a:pt x="1294382" y="1979553"/>
                </a:cubicBezTo>
                <a:cubicBezTo>
                  <a:pt x="1294382" y="2028893"/>
                  <a:pt x="1254384" y="2068891"/>
                  <a:pt x="1205044" y="2068891"/>
                </a:cubicBezTo>
                <a:cubicBezTo>
                  <a:pt x="1155704" y="2068891"/>
                  <a:pt x="1115706" y="2028893"/>
                  <a:pt x="1115706" y="1979553"/>
                </a:cubicBezTo>
                <a:cubicBezTo>
                  <a:pt x="1115706" y="1930213"/>
                  <a:pt x="1155704" y="1890215"/>
                  <a:pt x="1205044" y="1890215"/>
                </a:cubicBezTo>
                <a:close/>
                <a:moveTo>
                  <a:pt x="1019093" y="1890215"/>
                </a:moveTo>
                <a:cubicBezTo>
                  <a:pt x="1068433" y="1890215"/>
                  <a:pt x="1108431" y="1930213"/>
                  <a:pt x="1108431" y="1979553"/>
                </a:cubicBezTo>
                <a:cubicBezTo>
                  <a:pt x="1108431" y="2028893"/>
                  <a:pt x="1068433" y="2068891"/>
                  <a:pt x="1019093" y="2068891"/>
                </a:cubicBezTo>
                <a:cubicBezTo>
                  <a:pt x="969753" y="2068891"/>
                  <a:pt x="929755" y="2028893"/>
                  <a:pt x="929755" y="1979553"/>
                </a:cubicBezTo>
                <a:cubicBezTo>
                  <a:pt x="929755" y="1930213"/>
                  <a:pt x="969753" y="1890215"/>
                  <a:pt x="1019093" y="1890215"/>
                </a:cubicBezTo>
                <a:close/>
                <a:moveTo>
                  <a:pt x="833142" y="1890215"/>
                </a:moveTo>
                <a:cubicBezTo>
                  <a:pt x="882482" y="1890215"/>
                  <a:pt x="922480" y="1930213"/>
                  <a:pt x="922480" y="1979553"/>
                </a:cubicBezTo>
                <a:cubicBezTo>
                  <a:pt x="922480" y="2028893"/>
                  <a:pt x="882482" y="2068891"/>
                  <a:pt x="833142" y="2068891"/>
                </a:cubicBezTo>
                <a:cubicBezTo>
                  <a:pt x="783802" y="2068891"/>
                  <a:pt x="743804" y="2028893"/>
                  <a:pt x="743804" y="1979553"/>
                </a:cubicBezTo>
                <a:cubicBezTo>
                  <a:pt x="743804" y="1930213"/>
                  <a:pt x="783802" y="1890215"/>
                  <a:pt x="833142" y="1890215"/>
                </a:cubicBezTo>
                <a:close/>
                <a:moveTo>
                  <a:pt x="647191" y="1890215"/>
                </a:moveTo>
                <a:cubicBezTo>
                  <a:pt x="696531" y="1890215"/>
                  <a:pt x="736529" y="1930213"/>
                  <a:pt x="736529" y="1979553"/>
                </a:cubicBezTo>
                <a:cubicBezTo>
                  <a:pt x="736529" y="2028893"/>
                  <a:pt x="696531" y="2068891"/>
                  <a:pt x="647191" y="2068891"/>
                </a:cubicBezTo>
                <a:cubicBezTo>
                  <a:pt x="597851" y="2068891"/>
                  <a:pt x="557853" y="2028893"/>
                  <a:pt x="557853" y="1979553"/>
                </a:cubicBezTo>
                <a:cubicBezTo>
                  <a:pt x="557853" y="1930213"/>
                  <a:pt x="597851" y="1890215"/>
                  <a:pt x="647191" y="1890215"/>
                </a:cubicBezTo>
                <a:close/>
                <a:moveTo>
                  <a:pt x="461240" y="1890215"/>
                </a:moveTo>
                <a:cubicBezTo>
                  <a:pt x="510580" y="1890215"/>
                  <a:pt x="550578" y="1930213"/>
                  <a:pt x="550578" y="1979553"/>
                </a:cubicBezTo>
                <a:cubicBezTo>
                  <a:pt x="550578" y="2028893"/>
                  <a:pt x="510580" y="2068891"/>
                  <a:pt x="461240" y="2068891"/>
                </a:cubicBezTo>
                <a:cubicBezTo>
                  <a:pt x="411900" y="2068891"/>
                  <a:pt x="371902" y="2028893"/>
                  <a:pt x="371902" y="1979553"/>
                </a:cubicBezTo>
                <a:cubicBezTo>
                  <a:pt x="371902" y="1930213"/>
                  <a:pt x="411900" y="1890215"/>
                  <a:pt x="461240" y="1890215"/>
                </a:cubicBezTo>
                <a:close/>
                <a:moveTo>
                  <a:pt x="1205044" y="1699146"/>
                </a:moveTo>
                <a:cubicBezTo>
                  <a:pt x="1254384" y="1699146"/>
                  <a:pt x="1294382" y="1739144"/>
                  <a:pt x="1294382" y="1788484"/>
                </a:cubicBezTo>
                <a:cubicBezTo>
                  <a:pt x="1294382" y="1837824"/>
                  <a:pt x="1254384" y="1877822"/>
                  <a:pt x="1205044" y="1877822"/>
                </a:cubicBezTo>
                <a:cubicBezTo>
                  <a:pt x="1155704" y="1877822"/>
                  <a:pt x="1115706" y="1837824"/>
                  <a:pt x="1115706" y="1788484"/>
                </a:cubicBezTo>
                <a:cubicBezTo>
                  <a:pt x="1115706" y="1739144"/>
                  <a:pt x="1155704" y="1699146"/>
                  <a:pt x="1205044" y="1699146"/>
                </a:cubicBezTo>
                <a:close/>
                <a:moveTo>
                  <a:pt x="1019093" y="1699146"/>
                </a:moveTo>
                <a:cubicBezTo>
                  <a:pt x="1068433" y="1699146"/>
                  <a:pt x="1108431" y="1739144"/>
                  <a:pt x="1108431" y="1788484"/>
                </a:cubicBezTo>
                <a:cubicBezTo>
                  <a:pt x="1108431" y="1837824"/>
                  <a:pt x="1068433" y="1877822"/>
                  <a:pt x="1019093" y="1877822"/>
                </a:cubicBezTo>
                <a:cubicBezTo>
                  <a:pt x="969753" y="1877822"/>
                  <a:pt x="929755" y="1837824"/>
                  <a:pt x="929755" y="1788484"/>
                </a:cubicBezTo>
                <a:cubicBezTo>
                  <a:pt x="929755" y="1739144"/>
                  <a:pt x="969753" y="1699146"/>
                  <a:pt x="1019093" y="1699146"/>
                </a:cubicBezTo>
                <a:close/>
                <a:moveTo>
                  <a:pt x="833142" y="1699146"/>
                </a:moveTo>
                <a:cubicBezTo>
                  <a:pt x="882482" y="1699146"/>
                  <a:pt x="922480" y="1739144"/>
                  <a:pt x="922480" y="1788484"/>
                </a:cubicBezTo>
                <a:cubicBezTo>
                  <a:pt x="922480" y="1837824"/>
                  <a:pt x="882482" y="1877822"/>
                  <a:pt x="833142" y="1877822"/>
                </a:cubicBezTo>
                <a:cubicBezTo>
                  <a:pt x="783802" y="1877822"/>
                  <a:pt x="743804" y="1837824"/>
                  <a:pt x="743804" y="1788484"/>
                </a:cubicBezTo>
                <a:cubicBezTo>
                  <a:pt x="743804" y="1739144"/>
                  <a:pt x="783802" y="1699146"/>
                  <a:pt x="833142" y="1699146"/>
                </a:cubicBezTo>
                <a:close/>
                <a:moveTo>
                  <a:pt x="647191" y="1699146"/>
                </a:moveTo>
                <a:cubicBezTo>
                  <a:pt x="696531" y="1699146"/>
                  <a:pt x="736529" y="1739144"/>
                  <a:pt x="736529" y="1788484"/>
                </a:cubicBezTo>
                <a:cubicBezTo>
                  <a:pt x="736529" y="1837824"/>
                  <a:pt x="696531" y="1877822"/>
                  <a:pt x="647191" y="1877822"/>
                </a:cubicBezTo>
                <a:cubicBezTo>
                  <a:pt x="597851" y="1877822"/>
                  <a:pt x="557853" y="1837824"/>
                  <a:pt x="557853" y="1788484"/>
                </a:cubicBezTo>
                <a:cubicBezTo>
                  <a:pt x="557853" y="1739144"/>
                  <a:pt x="597851" y="1699146"/>
                  <a:pt x="647191" y="1699146"/>
                </a:cubicBezTo>
                <a:close/>
                <a:moveTo>
                  <a:pt x="461240" y="1699146"/>
                </a:moveTo>
                <a:cubicBezTo>
                  <a:pt x="510580" y="1699146"/>
                  <a:pt x="550578" y="1739144"/>
                  <a:pt x="550578" y="1788484"/>
                </a:cubicBezTo>
                <a:cubicBezTo>
                  <a:pt x="550578" y="1837824"/>
                  <a:pt x="510580" y="1877822"/>
                  <a:pt x="461240" y="1877822"/>
                </a:cubicBezTo>
                <a:cubicBezTo>
                  <a:pt x="411900" y="1877822"/>
                  <a:pt x="371902" y="1837824"/>
                  <a:pt x="371902" y="1788484"/>
                </a:cubicBezTo>
                <a:cubicBezTo>
                  <a:pt x="371902" y="1739144"/>
                  <a:pt x="411900" y="1699146"/>
                  <a:pt x="461240" y="1699146"/>
                </a:cubicBezTo>
                <a:close/>
                <a:moveTo>
                  <a:pt x="1205044" y="1508078"/>
                </a:moveTo>
                <a:cubicBezTo>
                  <a:pt x="1254384" y="1508078"/>
                  <a:pt x="1294382" y="1548076"/>
                  <a:pt x="1294382" y="1597416"/>
                </a:cubicBezTo>
                <a:cubicBezTo>
                  <a:pt x="1294382" y="1646756"/>
                  <a:pt x="1254384" y="1686754"/>
                  <a:pt x="1205044" y="1686754"/>
                </a:cubicBezTo>
                <a:cubicBezTo>
                  <a:pt x="1155704" y="1686754"/>
                  <a:pt x="1115706" y="1646756"/>
                  <a:pt x="1115706" y="1597416"/>
                </a:cubicBezTo>
                <a:cubicBezTo>
                  <a:pt x="1115706" y="1548076"/>
                  <a:pt x="1155704" y="1508078"/>
                  <a:pt x="1205044" y="1508078"/>
                </a:cubicBezTo>
                <a:close/>
                <a:moveTo>
                  <a:pt x="1019093" y="1508078"/>
                </a:moveTo>
                <a:cubicBezTo>
                  <a:pt x="1068433" y="1508078"/>
                  <a:pt x="1108431" y="1548076"/>
                  <a:pt x="1108431" y="1597416"/>
                </a:cubicBezTo>
                <a:cubicBezTo>
                  <a:pt x="1108431" y="1646756"/>
                  <a:pt x="1068433" y="1686754"/>
                  <a:pt x="1019093" y="1686754"/>
                </a:cubicBezTo>
                <a:cubicBezTo>
                  <a:pt x="969753" y="1686754"/>
                  <a:pt x="929755" y="1646756"/>
                  <a:pt x="929755" y="1597416"/>
                </a:cubicBezTo>
                <a:cubicBezTo>
                  <a:pt x="929755" y="1548076"/>
                  <a:pt x="969753" y="1508078"/>
                  <a:pt x="1019093" y="1508078"/>
                </a:cubicBezTo>
                <a:close/>
                <a:moveTo>
                  <a:pt x="833142" y="1508078"/>
                </a:moveTo>
                <a:cubicBezTo>
                  <a:pt x="882482" y="1508078"/>
                  <a:pt x="922480" y="1548076"/>
                  <a:pt x="922480" y="1597416"/>
                </a:cubicBezTo>
                <a:cubicBezTo>
                  <a:pt x="922480" y="1646756"/>
                  <a:pt x="882482" y="1686754"/>
                  <a:pt x="833142" y="1686754"/>
                </a:cubicBezTo>
                <a:cubicBezTo>
                  <a:pt x="783802" y="1686754"/>
                  <a:pt x="743804" y="1646756"/>
                  <a:pt x="743804" y="1597416"/>
                </a:cubicBezTo>
                <a:cubicBezTo>
                  <a:pt x="743804" y="1548076"/>
                  <a:pt x="783802" y="1508078"/>
                  <a:pt x="833142" y="1508078"/>
                </a:cubicBezTo>
                <a:close/>
                <a:moveTo>
                  <a:pt x="647191" y="1508078"/>
                </a:moveTo>
                <a:cubicBezTo>
                  <a:pt x="696531" y="1508078"/>
                  <a:pt x="736529" y="1548076"/>
                  <a:pt x="736529" y="1597416"/>
                </a:cubicBezTo>
                <a:cubicBezTo>
                  <a:pt x="736529" y="1646756"/>
                  <a:pt x="696531" y="1686754"/>
                  <a:pt x="647191" y="1686754"/>
                </a:cubicBezTo>
                <a:cubicBezTo>
                  <a:pt x="597851" y="1686754"/>
                  <a:pt x="557853" y="1646756"/>
                  <a:pt x="557853" y="1597416"/>
                </a:cubicBezTo>
                <a:cubicBezTo>
                  <a:pt x="557853" y="1548076"/>
                  <a:pt x="597851" y="1508078"/>
                  <a:pt x="647191" y="1508078"/>
                </a:cubicBezTo>
                <a:close/>
                <a:moveTo>
                  <a:pt x="461240" y="1508078"/>
                </a:moveTo>
                <a:cubicBezTo>
                  <a:pt x="510580" y="1508078"/>
                  <a:pt x="550578" y="1548076"/>
                  <a:pt x="550578" y="1597416"/>
                </a:cubicBezTo>
                <a:cubicBezTo>
                  <a:pt x="550578" y="1646756"/>
                  <a:pt x="510580" y="1686754"/>
                  <a:pt x="461240" y="1686754"/>
                </a:cubicBezTo>
                <a:cubicBezTo>
                  <a:pt x="411900" y="1686754"/>
                  <a:pt x="371902" y="1646756"/>
                  <a:pt x="371902" y="1597416"/>
                </a:cubicBezTo>
                <a:cubicBezTo>
                  <a:pt x="371902" y="1548076"/>
                  <a:pt x="411900" y="1508078"/>
                  <a:pt x="461240" y="1508078"/>
                </a:cubicBezTo>
                <a:close/>
                <a:moveTo>
                  <a:pt x="1205044" y="1323833"/>
                </a:moveTo>
                <a:cubicBezTo>
                  <a:pt x="1254384" y="1323833"/>
                  <a:pt x="1294382" y="1363831"/>
                  <a:pt x="1294382" y="1413171"/>
                </a:cubicBezTo>
                <a:cubicBezTo>
                  <a:pt x="1294382" y="1462511"/>
                  <a:pt x="1254384" y="1502509"/>
                  <a:pt x="1205044" y="1502509"/>
                </a:cubicBezTo>
                <a:cubicBezTo>
                  <a:pt x="1155704" y="1502509"/>
                  <a:pt x="1115706" y="1462511"/>
                  <a:pt x="1115706" y="1413171"/>
                </a:cubicBezTo>
                <a:cubicBezTo>
                  <a:pt x="1115706" y="1363831"/>
                  <a:pt x="1155704" y="1323833"/>
                  <a:pt x="1205044" y="1323833"/>
                </a:cubicBezTo>
                <a:close/>
                <a:moveTo>
                  <a:pt x="1019093" y="1323833"/>
                </a:moveTo>
                <a:cubicBezTo>
                  <a:pt x="1068433" y="1323833"/>
                  <a:pt x="1108431" y="1363831"/>
                  <a:pt x="1108431" y="1413171"/>
                </a:cubicBezTo>
                <a:cubicBezTo>
                  <a:pt x="1108431" y="1462511"/>
                  <a:pt x="1068433" y="1502509"/>
                  <a:pt x="1019093" y="1502509"/>
                </a:cubicBezTo>
                <a:cubicBezTo>
                  <a:pt x="969753" y="1502509"/>
                  <a:pt x="929755" y="1462511"/>
                  <a:pt x="929755" y="1413171"/>
                </a:cubicBezTo>
                <a:cubicBezTo>
                  <a:pt x="929755" y="1363831"/>
                  <a:pt x="969753" y="1323833"/>
                  <a:pt x="1019093" y="1323833"/>
                </a:cubicBezTo>
                <a:close/>
                <a:moveTo>
                  <a:pt x="833142" y="1323833"/>
                </a:moveTo>
                <a:cubicBezTo>
                  <a:pt x="882482" y="1323833"/>
                  <a:pt x="922480" y="1363831"/>
                  <a:pt x="922480" y="1413171"/>
                </a:cubicBezTo>
                <a:cubicBezTo>
                  <a:pt x="922480" y="1462511"/>
                  <a:pt x="882482" y="1502509"/>
                  <a:pt x="833142" y="1502509"/>
                </a:cubicBezTo>
                <a:cubicBezTo>
                  <a:pt x="783802" y="1502509"/>
                  <a:pt x="743804" y="1462511"/>
                  <a:pt x="743804" y="1413171"/>
                </a:cubicBezTo>
                <a:cubicBezTo>
                  <a:pt x="743804" y="1363831"/>
                  <a:pt x="783802" y="1323833"/>
                  <a:pt x="833142" y="1323833"/>
                </a:cubicBezTo>
                <a:close/>
                <a:moveTo>
                  <a:pt x="647191" y="1323833"/>
                </a:moveTo>
                <a:cubicBezTo>
                  <a:pt x="696531" y="1323833"/>
                  <a:pt x="736529" y="1363831"/>
                  <a:pt x="736529" y="1413171"/>
                </a:cubicBezTo>
                <a:cubicBezTo>
                  <a:pt x="736529" y="1462511"/>
                  <a:pt x="696531" y="1502509"/>
                  <a:pt x="647191" y="1502509"/>
                </a:cubicBezTo>
                <a:cubicBezTo>
                  <a:pt x="597851" y="1502509"/>
                  <a:pt x="557853" y="1462511"/>
                  <a:pt x="557853" y="1413171"/>
                </a:cubicBezTo>
                <a:cubicBezTo>
                  <a:pt x="557853" y="1363831"/>
                  <a:pt x="597851" y="1323833"/>
                  <a:pt x="647191" y="1323833"/>
                </a:cubicBezTo>
                <a:close/>
                <a:moveTo>
                  <a:pt x="461240" y="1323833"/>
                </a:moveTo>
                <a:cubicBezTo>
                  <a:pt x="510580" y="1323833"/>
                  <a:pt x="550578" y="1363831"/>
                  <a:pt x="550578" y="1413171"/>
                </a:cubicBezTo>
                <a:cubicBezTo>
                  <a:pt x="550578" y="1462511"/>
                  <a:pt x="510580" y="1502509"/>
                  <a:pt x="461240" y="1502509"/>
                </a:cubicBezTo>
                <a:cubicBezTo>
                  <a:pt x="411900" y="1502509"/>
                  <a:pt x="371902" y="1462511"/>
                  <a:pt x="371902" y="1413171"/>
                </a:cubicBezTo>
                <a:cubicBezTo>
                  <a:pt x="371902" y="1363831"/>
                  <a:pt x="411900" y="1323833"/>
                  <a:pt x="461240" y="1323833"/>
                </a:cubicBezTo>
                <a:close/>
                <a:moveTo>
                  <a:pt x="1205044" y="1132764"/>
                </a:moveTo>
                <a:cubicBezTo>
                  <a:pt x="1254384" y="1132764"/>
                  <a:pt x="1294382" y="1172762"/>
                  <a:pt x="1294382" y="1222102"/>
                </a:cubicBezTo>
                <a:cubicBezTo>
                  <a:pt x="1294382" y="1271442"/>
                  <a:pt x="1254384" y="1311440"/>
                  <a:pt x="1205044" y="1311440"/>
                </a:cubicBezTo>
                <a:cubicBezTo>
                  <a:pt x="1155704" y="1311440"/>
                  <a:pt x="1115706" y="1271442"/>
                  <a:pt x="1115706" y="1222102"/>
                </a:cubicBezTo>
                <a:cubicBezTo>
                  <a:pt x="1115706" y="1172762"/>
                  <a:pt x="1155704" y="1132764"/>
                  <a:pt x="1205044" y="1132764"/>
                </a:cubicBezTo>
                <a:close/>
                <a:moveTo>
                  <a:pt x="1019093" y="1132764"/>
                </a:moveTo>
                <a:cubicBezTo>
                  <a:pt x="1068433" y="1132764"/>
                  <a:pt x="1108431" y="1172762"/>
                  <a:pt x="1108431" y="1222102"/>
                </a:cubicBezTo>
                <a:cubicBezTo>
                  <a:pt x="1108431" y="1271442"/>
                  <a:pt x="1068433" y="1311440"/>
                  <a:pt x="1019093" y="1311440"/>
                </a:cubicBezTo>
                <a:cubicBezTo>
                  <a:pt x="969753" y="1311440"/>
                  <a:pt x="929755" y="1271442"/>
                  <a:pt x="929755" y="1222102"/>
                </a:cubicBezTo>
                <a:cubicBezTo>
                  <a:pt x="929755" y="1172762"/>
                  <a:pt x="969753" y="1132764"/>
                  <a:pt x="1019093" y="1132764"/>
                </a:cubicBezTo>
                <a:close/>
                <a:moveTo>
                  <a:pt x="833142" y="1132764"/>
                </a:moveTo>
                <a:cubicBezTo>
                  <a:pt x="882482" y="1132764"/>
                  <a:pt x="922480" y="1172762"/>
                  <a:pt x="922480" y="1222102"/>
                </a:cubicBezTo>
                <a:cubicBezTo>
                  <a:pt x="922480" y="1271442"/>
                  <a:pt x="882482" y="1311440"/>
                  <a:pt x="833142" y="1311440"/>
                </a:cubicBezTo>
                <a:cubicBezTo>
                  <a:pt x="783802" y="1311440"/>
                  <a:pt x="743804" y="1271442"/>
                  <a:pt x="743804" y="1222102"/>
                </a:cubicBezTo>
                <a:cubicBezTo>
                  <a:pt x="743804" y="1172762"/>
                  <a:pt x="783802" y="1132764"/>
                  <a:pt x="833142" y="1132764"/>
                </a:cubicBezTo>
                <a:close/>
                <a:moveTo>
                  <a:pt x="647191" y="1132764"/>
                </a:moveTo>
                <a:cubicBezTo>
                  <a:pt x="696531" y="1132764"/>
                  <a:pt x="736529" y="1172762"/>
                  <a:pt x="736529" y="1222102"/>
                </a:cubicBezTo>
                <a:cubicBezTo>
                  <a:pt x="736529" y="1271442"/>
                  <a:pt x="696531" y="1311440"/>
                  <a:pt x="647191" y="1311440"/>
                </a:cubicBezTo>
                <a:cubicBezTo>
                  <a:pt x="597851" y="1311440"/>
                  <a:pt x="557853" y="1271442"/>
                  <a:pt x="557853" y="1222102"/>
                </a:cubicBezTo>
                <a:cubicBezTo>
                  <a:pt x="557853" y="1172762"/>
                  <a:pt x="597851" y="1132764"/>
                  <a:pt x="647191" y="1132764"/>
                </a:cubicBezTo>
                <a:close/>
                <a:moveTo>
                  <a:pt x="461240" y="1132764"/>
                </a:moveTo>
                <a:cubicBezTo>
                  <a:pt x="510580" y="1132764"/>
                  <a:pt x="550578" y="1172762"/>
                  <a:pt x="550578" y="1222102"/>
                </a:cubicBezTo>
                <a:cubicBezTo>
                  <a:pt x="550578" y="1271442"/>
                  <a:pt x="510580" y="1311440"/>
                  <a:pt x="461240" y="1311440"/>
                </a:cubicBezTo>
                <a:cubicBezTo>
                  <a:pt x="411900" y="1311440"/>
                  <a:pt x="371902" y="1271442"/>
                  <a:pt x="371902" y="1222102"/>
                </a:cubicBezTo>
                <a:cubicBezTo>
                  <a:pt x="371902" y="1172762"/>
                  <a:pt x="411900" y="1132764"/>
                  <a:pt x="461240" y="1132764"/>
                </a:cubicBezTo>
                <a:close/>
                <a:moveTo>
                  <a:pt x="1205044" y="941696"/>
                </a:moveTo>
                <a:cubicBezTo>
                  <a:pt x="1254384" y="941696"/>
                  <a:pt x="1294382" y="981694"/>
                  <a:pt x="1294382" y="1031034"/>
                </a:cubicBezTo>
                <a:cubicBezTo>
                  <a:pt x="1294382" y="1080374"/>
                  <a:pt x="1254384" y="1120372"/>
                  <a:pt x="1205044" y="1120372"/>
                </a:cubicBezTo>
                <a:cubicBezTo>
                  <a:pt x="1155704" y="1120372"/>
                  <a:pt x="1115706" y="1080374"/>
                  <a:pt x="1115706" y="1031034"/>
                </a:cubicBezTo>
                <a:cubicBezTo>
                  <a:pt x="1115706" y="981694"/>
                  <a:pt x="1155704" y="941696"/>
                  <a:pt x="1205044" y="941696"/>
                </a:cubicBezTo>
                <a:close/>
                <a:moveTo>
                  <a:pt x="1019093" y="941696"/>
                </a:moveTo>
                <a:cubicBezTo>
                  <a:pt x="1068433" y="941696"/>
                  <a:pt x="1108431" y="981694"/>
                  <a:pt x="1108431" y="1031034"/>
                </a:cubicBezTo>
                <a:cubicBezTo>
                  <a:pt x="1108431" y="1080374"/>
                  <a:pt x="1068433" y="1120372"/>
                  <a:pt x="1019093" y="1120372"/>
                </a:cubicBezTo>
                <a:cubicBezTo>
                  <a:pt x="969753" y="1120372"/>
                  <a:pt x="929755" y="1080374"/>
                  <a:pt x="929755" y="1031034"/>
                </a:cubicBezTo>
                <a:cubicBezTo>
                  <a:pt x="929755" y="981694"/>
                  <a:pt x="969753" y="941696"/>
                  <a:pt x="1019093" y="941696"/>
                </a:cubicBezTo>
                <a:close/>
                <a:moveTo>
                  <a:pt x="833142" y="941696"/>
                </a:moveTo>
                <a:cubicBezTo>
                  <a:pt x="882482" y="941696"/>
                  <a:pt x="922480" y="981694"/>
                  <a:pt x="922480" y="1031034"/>
                </a:cubicBezTo>
                <a:cubicBezTo>
                  <a:pt x="922480" y="1080374"/>
                  <a:pt x="882482" y="1120372"/>
                  <a:pt x="833142" y="1120372"/>
                </a:cubicBezTo>
                <a:cubicBezTo>
                  <a:pt x="783802" y="1120372"/>
                  <a:pt x="743804" y="1080374"/>
                  <a:pt x="743804" y="1031034"/>
                </a:cubicBezTo>
                <a:cubicBezTo>
                  <a:pt x="743804" y="981694"/>
                  <a:pt x="783802" y="941696"/>
                  <a:pt x="833142" y="941696"/>
                </a:cubicBezTo>
                <a:close/>
                <a:moveTo>
                  <a:pt x="647191" y="941696"/>
                </a:moveTo>
                <a:cubicBezTo>
                  <a:pt x="696531" y="941696"/>
                  <a:pt x="736529" y="981694"/>
                  <a:pt x="736529" y="1031034"/>
                </a:cubicBezTo>
                <a:cubicBezTo>
                  <a:pt x="736529" y="1080374"/>
                  <a:pt x="696531" y="1120372"/>
                  <a:pt x="647191" y="1120372"/>
                </a:cubicBezTo>
                <a:cubicBezTo>
                  <a:pt x="597851" y="1120372"/>
                  <a:pt x="557853" y="1080374"/>
                  <a:pt x="557853" y="1031034"/>
                </a:cubicBezTo>
                <a:cubicBezTo>
                  <a:pt x="557853" y="981694"/>
                  <a:pt x="597851" y="941696"/>
                  <a:pt x="647191" y="941696"/>
                </a:cubicBezTo>
                <a:close/>
                <a:moveTo>
                  <a:pt x="461240" y="941696"/>
                </a:moveTo>
                <a:cubicBezTo>
                  <a:pt x="510580" y="941696"/>
                  <a:pt x="550578" y="981694"/>
                  <a:pt x="550578" y="1031034"/>
                </a:cubicBezTo>
                <a:cubicBezTo>
                  <a:pt x="550578" y="1080374"/>
                  <a:pt x="510580" y="1120372"/>
                  <a:pt x="461240" y="1120372"/>
                </a:cubicBezTo>
                <a:cubicBezTo>
                  <a:pt x="411900" y="1120372"/>
                  <a:pt x="371902" y="1080374"/>
                  <a:pt x="371902" y="1031034"/>
                </a:cubicBezTo>
                <a:cubicBezTo>
                  <a:pt x="371902" y="981694"/>
                  <a:pt x="411900" y="941696"/>
                  <a:pt x="461240" y="941696"/>
                </a:cubicBezTo>
                <a:close/>
                <a:moveTo>
                  <a:pt x="1576945" y="750627"/>
                </a:moveTo>
                <a:cubicBezTo>
                  <a:pt x="1626285" y="750627"/>
                  <a:pt x="1666283" y="790625"/>
                  <a:pt x="1666283" y="839965"/>
                </a:cubicBezTo>
                <a:cubicBezTo>
                  <a:pt x="1666283" y="889305"/>
                  <a:pt x="1626285" y="929303"/>
                  <a:pt x="1576945" y="929303"/>
                </a:cubicBezTo>
                <a:cubicBezTo>
                  <a:pt x="1527605" y="929303"/>
                  <a:pt x="1487607" y="889305"/>
                  <a:pt x="1487607" y="839965"/>
                </a:cubicBezTo>
                <a:cubicBezTo>
                  <a:pt x="1487607" y="790625"/>
                  <a:pt x="1527605" y="750627"/>
                  <a:pt x="1576945" y="750627"/>
                </a:cubicBezTo>
                <a:close/>
                <a:moveTo>
                  <a:pt x="1390995" y="750627"/>
                </a:moveTo>
                <a:cubicBezTo>
                  <a:pt x="1440335" y="750627"/>
                  <a:pt x="1480333" y="790625"/>
                  <a:pt x="1480333" y="839965"/>
                </a:cubicBezTo>
                <a:cubicBezTo>
                  <a:pt x="1480333" y="889305"/>
                  <a:pt x="1440335" y="929303"/>
                  <a:pt x="1390995" y="929303"/>
                </a:cubicBezTo>
                <a:cubicBezTo>
                  <a:pt x="1341655" y="929303"/>
                  <a:pt x="1301657" y="889305"/>
                  <a:pt x="1301657" y="839965"/>
                </a:cubicBezTo>
                <a:cubicBezTo>
                  <a:pt x="1301657" y="790625"/>
                  <a:pt x="1341655" y="750627"/>
                  <a:pt x="1390995" y="750627"/>
                </a:cubicBezTo>
                <a:close/>
                <a:moveTo>
                  <a:pt x="1205044" y="750627"/>
                </a:moveTo>
                <a:cubicBezTo>
                  <a:pt x="1254384" y="750627"/>
                  <a:pt x="1294382" y="790625"/>
                  <a:pt x="1294382" y="839965"/>
                </a:cubicBezTo>
                <a:cubicBezTo>
                  <a:pt x="1294382" y="889305"/>
                  <a:pt x="1254384" y="929303"/>
                  <a:pt x="1205044" y="929303"/>
                </a:cubicBezTo>
                <a:cubicBezTo>
                  <a:pt x="1155704" y="929303"/>
                  <a:pt x="1115706" y="889305"/>
                  <a:pt x="1115706" y="839965"/>
                </a:cubicBezTo>
                <a:cubicBezTo>
                  <a:pt x="1115706" y="790625"/>
                  <a:pt x="1155704" y="750627"/>
                  <a:pt x="1205044" y="750627"/>
                </a:cubicBezTo>
                <a:close/>
                <a:moveTo>
                  <a:pt x="1019093" y="750627"/>
                </a:moveTo>
                <a:cubicBezTo>
                  <a:pt x="1068433" y="750627"/>
                  <a:pt x="1108431" y="790625"/>
                  <a:pt x="1108431" y="839965"/>
                </a:cubicBezTo>
                <a:cubicBezTo>
                  <a:pt x="1108431" y="889305"/>
                  <a:pt x="1068433" y="929303"/>
                  <a:pt x="1019093" y="929303"/>
                </a:cubicBezTo>
                <a:cubicBezTo>
                  <a:pt x="969753" y="929303"/>
                  <a:pt x="929755" y="889305"/>
                  <a:pt x="929755" y="839965"/>
                </a:cubicBezTo>
                <a:cubicBezTo>
                  <a:pt x="929755" y="790625"/>
                  <a:pt x="969753" y="750627"/>
                  <a:pt x="1019093" y="750627"/>
                </a:cubicBezTo>
                <a:close/>
                <a:moveTo>
                  <a:pt x="833142" y="750627"/>
                </a:moveTo>
                <a:cubicBezTo>
                  <a:pt x="882482" y="750627"/>
                  <a:pt x="922480" y="790625"/>
                  <a:pt x="922480" y="839965"/>
                </a:cubicBezTo>
                <a:cubicBezTo>
                  <a:pt x="922480" y="889305"/>
                  <a:pt x="882482" y="929303"/>
                  <a:pt x="833142" y="929303"/>
                </a:cubicBezTo>
                <a:cubicBezTo>
                  <a:pt x="783802" y="929303"/>
                  <a:pt x="743804" y="889305"/>
                  <a:pt x="743804" y="839965"/>
                </a:cubicBezTo>
                <a:cubicBezTo>
                  <a:pt x="743804" y="790625"/>
                  <a:pt x="783802" y="750627"/>
                  <a:pt x="833142" y="750627"/>
                </a:cubicBezTo>
                <a:close/>
                <a:moveTo>
                  <a:pt x="647191" y="750627"/>
                </a:moveTo>
                <a:cubicBezTo>
                  <a:pt x="696531" y="750627"/>
                  <a:pt x="736529" y="790625"/>
                  <a:pt x="736529" y="839965"/>
                </a:cubicBezTo>
                <a:cubicBezTo>
                  <a:pt x="736529" y="889305"/>
                  <a:pt x="696531" y="929303"/>
                  <a:pt x="647191" y="929303"/>
                </a:cubicBezTo>
                <a:cubicBezTo>
                  <a:pt x="597851" y="929303"/>
                  <a:pt x="557853" y="889305"/>
                  <a:pt x="557853" y="839965"/>
                </a:cubicBezTo>
                <a:cubicBezTo>
                  <a:pt x="557853" y="790625"/>
                  <a:pt x="597851" y="750627"/>
                  <a:pt x="647191" y="750627"/>
                </a:cubicBezTo>
                <a:close/>
                <a:moveTo>
                  <a:pt x="461240" y="750627"/>
                </a:moveTo>
                <a:cubicBezTo>
                  <a:pt x="510580" y="750627"/>
                  <a:pt x="550578" y="790625"/>
                  <a:pt x="550578" y="839965"/>
                </a:cubicBezTo>
                <a:cubicBezTo>
                  <a:pt x="550578" y="889305"/>
                  <a:pt x="510580" y="929303"/>
                  <a:pt x="461240" y="929303"/>
                </a:cubicBezTo>
                <a:cubicBezTo>
                  <a:pt x="411900" y="929303"/>
                  <a:pt x="371902" y="889305"/>
                  <a:pt x="371902" y="839965"/>
                </a:cubicBezTo>
                <a:cubicBezTo>
                  <a:pt x="371902" y="790625"/>
                  <a:pt x="411900" y="750627"/>
                  <a:pt x="461240" y="750627"/>
                </a:cubicBezTo>
                <a:close/>
                <a:moveTo>
                  <a:pt x="275289" y="750627"/>
                </a:moveTo>
                <a:cubicBezTo>
                  <a:pt x="324629" y="750627"/>
                  <a:pt x="364627" y="790625"/>
                  <a:pt x="364627" y="839965"/>
                </a:cubicBezTo>
                <a:cubicBezTo>
                  <a:pt x="364627" y="889305"/>
                  <a:pt x="324629" y="929303"/>
                  <a:pt x="275289" y="929303"/>
                </a:cubicBezTo>
                <a:cubicBezTo>
                  <a:pt x="225949" y="929303"/>
                  <a:pt x="185951" y="889305"/>
                  <a:pt x="185951" y="839965"/>
                </a:cubicBezTo>
                <a:cubicBezTo>
                  <a:pt x="185951" y="790625"/>
                  <a:pt x="225949" y="750627"/>
                  <a:pt x="275289" y="750627"/>
                </a:cubicBezTo>
                <a:close/>
                <a:moveTo>
                  <a:pt x="89338" y="750627"/>
                </a:moveTo>
                <a:cubicBezTo>
                  <a:pt x="138678" y="750627"/>
                  <a:pt x="178676" y="790625"/>
                  <a:pt x="178676" y="839965"/>
                </a:cubicBezTo>
                <a:cubicBezTo>
                  <a:pt x="178676" y="889305"/>
                  <a:pt x="138678" y="929303"/>
                  <a:pt x="89338" y="929303"/>
                </a:cubicBezTo>
                <a:cubicBezTo>
                  <a:pt x="39998" y="929303"/>
                  <a:pt x="0" y="889305"/>
                  <a:pt x="0" y="839965"/>
                </a:cubicBezTo>
                <a:cubicBezTo>
                  <a:pt x="0" y="790625"/>
                  <a:pt x="39998" y="750627"/>
                  <a:pt x="89338" y="750627"/>
                </a:cubicBezTo>
                <a:close/>
                <a:moveTo>
                  <a:pt x="1390995" y="559559"/>
                </a:moveTo>
                <a:cubicBezTo>
                  <a:pt x="1440335" y="559559"/>
                  <a:pt x="1480333" y="599557"/>
                  <a:pt x="1480333" y="648897"/>
                </a:cubicBezTo>
                <a:cubicBezTo>
                  <a:pt x="1480333" y="698237"/>
                  <a:pt x="1440335" y="738235"/>
                  <a:pt x="1390995" y="738235"/>
                </a:cubicBezTo>
                <a:cubicBezTo>
                  <a:pt x="1341655" y="738235"/>
                  <a:pt x="1301657" y="698237"/>
                  <a:pt x="1301657" y="648897"/>
                </a:cubicBezTo>
                <a:cubicBezTo>
                  <a:pt x="1301657" y="599557"/>
                  <a:pt x="1341655" y="559559"/>
                  <a:pt x="1390995" y="559559"/>
                </a:cubicBezTo>
                <a:close/>
                <a:moveTo>
                  <a:pt x="1205044" y="559559"/>
                </a:moveTo>
                <a:cubicBezTo>
                  <a:pt x="1254384" y="559559"/>
                  <a:pt x="1294382" y="599557"/>
                  <a:pt x="1294382" y="648897"/>
                </a:cubicBezTo>
                <a:cubicBezTo>
                  <a:pt x="1294382" y="698237"/>
                  <a:pt x="1254384" y="738235"/>
                  <a:pt x="1205044" y="738235"/>
                </a:cubicBezTo>
                <a:cubicBezTo>
                  <a:pt x="1155704" y="738235"/>
                  <a:pt x="1115706" y="698237"/>
                  <a:pt x="1115706" y="648897"/>
                </a:cubicBezTo>
                <a:cubicBezTo>
                  <a:pt x="1115706" y="599557"/>
                  <a:pt x="1155704" y="559559"/>
                  <a:pt x="1205044" y="559559"/>
                </a:cubicBezTo>
                <a:close/>
                <a:moveTo>
                  <a:pt x="1019093" y="559559"/>
                </a:moveTo>
                <a:cubicBezTo>
                  <a:pt x="1068433" y="559559"/>
                  <a:pt x="1108431" y="599557"/>
                  <a:pt x="1108431" y="648897"/>
                </a:cubicBezTo>
                <a:cubicBezTo>
                  <a:pt x="1108431" y="698237"/>
                  <a:pt x="1068433" y="738235"/>
                  <a:pt x="1019093" y="738235"/>
                </a:cubicBezTo>
                <a:cubicBezTo>
                  <a:pt x="969753" y="738235"/>
                  <a:pt x="929755" y="698237"/>
                  <a:pt x="929755" y="648897"/>
                </a:cubicBezTo>
                <a:cubicBezTo>
                  <a:pt x="929755" y="599557"/>
                  <a:pt x="969753" y="559559"/>
                  <a:pt x="1019093" y="559559"/>
                </a:cubicBezTo>
                <a:close/>
                <a:moveTo>
                  <a:pt x="833142" y="559559"/>
                </a:moveTo>
                <a:cubicBezTo>
                  <a:pt x="882482" y="559559"/>
                  <a:pt x="922480" y="599557"/>
                  <a:pt x="922480" y="648897"/>
                </a:cubicBezTo>
                <a:cubicBezTo>
                  <a:pt x="922480" y="698237"/>
                  <a:pt x="882482" y="738235"/>
                  <a:pt x="833142" y="738235"/>
                </a:cubicBezTo>
                <a:cubicBezTo>
                  <a:pt x="783802" y="738235"/>
                  <a:pt x="743804" y="698237"/>
                  <a:pt x="743804" y="648897"/>
                </a:cubicBezTo>
                <a:cubicBezTo>
                  <a:pt x="743804" y="599557"/>
                  <a:pt x="783802" y="559559"/>
                  <a:pt x="833142" y="559559"/>
                </a:cubicBezTo>
                <a:close/>
                <a:moveTo>
                  <a:pt x="647191" y="559559"/>
                </a:moveTo>
                <a:cubicBezTo>
                  <a:pt x="696531" y="559559"/>
                  <a:pt x="736529" y="599557"/>
                  <a:pt x="736529" y="648897"/>
                </a:cubicBezTo>
                <a:cubicBezTo>
                  <a:pt x="736529" y="698237"/>
                  <a:pt x="696531" y="738235"/>
                  <a:pt x="647191" y="738235"/>
                </a:cubicBezTo>
                <a:cubicBezTo>
                  <a:pt x="597851" y="738235"/>
                  <a:pt x="557853" y="698237"/>
                  <a:pt x="557853" y="648897"/>
                </a:cubicBezTo>
                <a:cubicBezTo>
                  <a:pt x="557853" y="599557"/>
                  <a:pt x="597851" y="559559"/>
                  <a:pt x="647191" y="559559"/>
                </a:cubicBezTo>
                <a:close/>
                <a:moveTo>
                  <a:pt x="461240" y="559559"/>
                </a:moveTo>
                <a:cubicBezTo>
                  <a:pt x="510580" y="559559"/>
                  <a:pt x="550578" y="599557"/>
                  <a:pt x="550578" y="648897"/>
                </a:cubicBezTo>
                <a:cubicBezTo>
                  <a:pt x="550578" y="698237"/>
                  <a:pt x="510580" y="738235"/>
                  <a:pt x="461240" y="738235"/>
                </a:cubicBezTo>
                <a:cubicBezTo>
                  <a:pt x="411900" y="738235"/>
                  <a:pt x="371902" y="698237"/>
                  <a:pt x="371902" y="648897"/>
                </a:cubicBezTo>
                <a:cubicBezTo>
                  <a:pt x="371902" y="599557"/>
                  <a:pt x="411900" y="559559"/>
                  <a:pt x="461240" y="559559"/>
                </a:cubicBezTo>
                <a:close/>
                <a:moveTo>
                  <a:pt x="275289" y="559559"/>
                </a:moveTo>
                <a:cubicBezTo>
                  <a:pt x="324629" y="559559"/>
                  <a:pt x="364627" y="599557"/>
                  <a:pt x="364627" y="648897"/>
                </a:cubicBezTo>
                <a:cubicBezTo>
                  <a:pt x="364627" y="698237"/>
                  <a:pt x="324629" y="738235"/>
                  <a:pt x="275289" y="738235"/>
                </a:cubicBezTo>
                <a:cubicBezTo>
                  <a:pt x="225949" y="738235"/>
                  <a:pt x="185951" y="698237"/>
                  <a:pt x="185951" y="648897"/>
                </a:cubicBezTo>
                <a:cubicBezTo>
                  <a:pt x="185951" y="599557"/>
                  <a:pt x="225949" y="559559"/>
                  <a:pt x="275289" y="559559"/>
                </a:cubicBezTo>
                <a:close/>
                <a:moveTo>
                  <a:pt x="1205044" y="368490"/>
                </a:moveTo>
                <a:cubicBezTo>
                  <a:pt x="1254384" y="368490"/>
                  <a:pt x="1294382" y="408488"/>
                  <a:pt x="1294382" y="457828"/>
                </a:cubicBezTo>
                <a:cubicBezTo>
                  <a:pt x="1294382" y="507168"/>
                  <a:pt x="1254384" y="547166"/>
                  <a:pt x="1205044" y="547166"/>
                </a:cubicBezTo>
                <a:cubicBezTo>
                  <a:pt x="1155704" y="547166"/>
                  <a:pt x="1115706" y="507168"/>
                  <a:pt x="1115706" y="457828"/>
                </a:cubicBezTo>
                <a:cubicBezTo>
                  <a:pt x="1115706" y="408488"/>
                  <a:pt x="1155704" y="368490"/>
                  <a:pt x="1205044" y="368490"/>
                </a:cubicBezTo>
                <a:close/>
                <a:moveTo>
                  <a:pt x="1019093" y="368490"/>
                </a:moveTo>
                <a:cubicBezTo>
                  <a:pt x="1068433" y="368490"/>
                  <a:pt x="1108431" y="408488"/>
                  <a:pt x="1108431" y="457828"/>
                </a:cubicBezTo>
                <a:cubicBezTo>
                  <a:pt x="1108431" y="507168"/>
                  <a:pt x="1068433" y="547166"/>
                  <a:pt x="1019093" y="547166"/>
                </a:cubicBezTo>
                <a:cubicBezTo>
                  <a:pt x="969753" y="547166"/>
                  <a:pt x="929755" y="507168"/>
                  <a:pt x="929755" y="457828"/>
                </a:cubicBezTo>
                <a:cubicBezTo>
                  <a:pt x="929755" y="408488"/>
                  <a:pt x="969753" y="368490"/>
                  <a:pt x="1019093" y="368490"/>
                </a:cubicBezTo>
                <a:close/>
                <a:moveTo>
                  <a:pt x="833142" y="368490"/>
                </a:moveTo>
                <a:cubicBezTo>
                  <a:pt x="882482" y="368490"/>
                  <a:pt x="922480" y="408488"/>
                  <a:pt x="922480" y="457828"/>
                </a:cubicBezTo>
                <a:cubicBezTo>
                  <a:pt x="922480" y="507168"/>
                  <a:pt x="882482" y="547166"/>
                  <a:pt x="833142" y="547166"/>
                </a:cubicBezTo>
                <a:cubicBezTo>
                  <a:pt x="783802" y="547166"/>
                  <a:pt x="743804" y="507168"/>
                  <a:pt x="743804" y="457828"/>
                </a:cubicBezTo>
                <a:cubicBezTo>
                  <a:pt x="743804" y="408488"/>
                  <a:pt x="783802" y="368490"/>
                  <a:pt x="833142" y="368490"/>
                </a:cubicBezTo>
                <a:close/>
                <a:moveTo>
                  <a:pt x="647191" y="368490"/>
                </a:moveTo>
                <a:cubicBezTo>
                  <a:pt x="696531" y="368490"/>
                  <a:pt x="736529" y="408488"/>
                  <a:pt x="736529" y="457828"/>
                </a:cubicBezTo>
                <a:cubicBezTo>
                  <a:pt x="736529" y="507168"/>
                  <a:pt x="696531" y="547166"/>
                  <a:pt x="647191" y="547166"/>
                </a:cubicBezTo>
                <a:cubicBezTo>
                  <a:pt x="597851" y="547166"/>
                  <a:pt x="557853" y="507168"/>
                  <a:pt x="557853" y="457828"/>
                </a:cubicBezTo>
                <a:cubicBezTo>
                  <a:pt x="557853" y="408488"/>
                  <a:pt x="597851" y="368490"/>
                  <a:pt x="647191" y="368490"/>
                </a:cubicBezTo>
                <a:close/>
                <a:moveTo>
                  <a:pt x="461240" y="368490"/>
                </a:moveTo>
                <a:cubicBezTo>
                  <a:pt x="510580" y="368490"/>
                  <a:pt x="550578" y="408488"/>
                  <a:pt x="550578" y="457828"/>
                </a:cubicBezTo>
                <a:cubicBezTo>
                  <a:pt x="550578" y="507168"/>
                  <a:pt x="510580" y="547166"/>
                  <a:pt x="461240" y="547166"/>
                </a:cubicBezTo>
                <a:cubicBezTo>
                  <a:pt x="411900" y="547166"/>
                  <a:pt x="371902" y="507168"/>
                  <a:pt x="371902" y="457828"/>
                </a:cubicBezTo>
                <a:cubicBezTo>
                  <a:pt x="371902" y="408488"/>
                  <a:pt x="411900" y="368490"/>
                  <a:pt x="461240" y="368490"/>
                </a:cubicBezTo>
                <a:close/>
                <a:moveTo>
                  <a:pt x="1019093" y="184245"/>
                </a:moveTo>
                <a:cubicBezTo>
                  <a:pt x="1068433" y="184245"/>
                  <a:pt x="1108431" y="224243"/>
                  <a:pt x="1108431" y="273583"/>
                </a:cubicBezTo>
                <a:cubicBezTo>
                  <a:pt x="1108431" y="322923"/>
                  <a:pt x="1068433" y="362921"/>
                  <a:pt x="1019093" y="362921"/>
                </a:cubicBezTo>
                <a:cubicBezTo>
                  <a:pt x="969753" y="362921"/>
                  <a:pt x="929755" y="322923"/>
                  <a:pt x="929755" y="273583"/>
                </a:cubicBezTo>
                <a:cubicBezTo>
                  <a:pt x="929755" y="224243"/>
                  <a:pt x="969753" y="184245"/>
                  <a:pt x="1019093" y="184245"/>
                </a:cubicBezTo>
                <a:close/>
                <a:moveTo>
                  <a:pt x="833142" y="184245"/>
                </a:moveTo>
                <a:cubicBezTo>
                  <a:pt x="882482" y="184245"/>
                  <a:pt x="922480" y="224243"/>
                  <a:pt x="922480" y="273583"/>
                </a:cubicBezTo>
                <a:cubicBezTo>
                  <a:pt x="922480" y="322923"/>
                  <a:pt x="882482" y="362921"/>
                  <a:pt x="833142" y="362921"/>
                </a:cubicBezTo>
                <a:cubicBezTo>
                  <a:pt x="783802" y="362921"/>
                  <a:pt x="743804" y="322923"/>
                  <a:pt x="743804" y="273583"/>
                </a:cubicBezTo>
                <a:cubicBezTo>
                  <a:pt x="743804" y="224243"/>
                  <a:pt x="783802" y="184245"/>
                  <a:pt x="833142" y="184245"/>
                </a:cubicBezTo>
                <a:close/>
                <a:moveTo>
                  <a:pt x="647191" y="184245"/>
                </a:moveTo>
                <a:cubicBezTo>
                  <a:pt x="696531" y="184245"/>
                  <a:pt x="736529" y="224243"/>
                  <a:pt x="736529" y="273583"/>
                </a:cubicBezTo>
                <a:cubicBezTo>
                  <a:pt x="736529" y="322923"/>
                  <a:pt x="696531" y="362921"/>
                  <a:pt x="647191" y="362921"/>
                </a:cubicBezTo>
                <a:cubicBezTo>
                  <a:pt x="597851" y="362921"/>
                  <a:pt x="557853" y="322923"/>
                  <a:pt x="557853" y="273583"/>
                </a:cubicBezTo>
                <a:cubicBezTo>
                  <a:pt x="557853" y="224243"/>
                  <a:pt x="597851" y="184245"/>
                  <a:pt x="647191" y="184245"/>
                </a:cubicBezTo>
                <a:close/>
                <a:moveTo>
                  <a:pt x="833142" y="0"/>
                </a:moveTo>
                <a:cubicBezTo>
                  <a:pt x="882482" y="0"/>
                  <a:pt x="922480" y="39998"/>
                  <a:pt x="922480" y="89338"/>
                </a:cubicBezTo>
                <a:cubicBezTo>
                  <a:pt x="922480" y="138678"/>
                  <a:pt x="882482" y="178676"/>
                  <a:pt x="833142" y="178676"/>
                </a:cubicBezTo>
                <a:cubicBezTo>
                  <a:pt x="783802" y="178676"/>
                  <a:pt x="743804" y="138678"/>
                  <a:pt x="743804" y="89338"/>
                </a:cubicBezTo>
                <a:cubicBezTo>
                  <a:pt x="743804" y="39998"/>
                  <a:pt x="783802" y="0"/>
                  <a:pt x="833142" y="0"/>
                </a:cubicBezTo>
                <a:close/>
              </a:path>
            </a:pathLst>
          </a:custGeom>
          <a:gradFill>
            <a:gsLst>
              <a:gs pos="0">
                <a:schemeClr val="accent3"/>
              </a:gs>
              <a:gs pos="53000">
                <a:schemeClr val="accent2"/>
              </a:gs>
              <a:gs pos="100000">
                <a:schemeClr val="accent2">
                  <a:lumMod val="75000"/>
                </a:schemeClr>
              </a:gs>
            </a:gsLst>
            <a:lin ang="5400000" scaled="1"/>
          </a:gra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80" name="TextBox 79">
            <a:extLst>
              <a:ext uri="{FF2B5EF4-FFF2-40B4-BE49-F238E27FC236}">
                <a16:creationId xmlns:a16="http://schemas.microsoft.com/office/drawing/2014/main" id="{2FB53E08-5A84-A140-B08D-65803F993B0E}"/>
              </a:ext>
            </a:extLst>
          </p:cNvPr>
          <p:cNvSpPr txBox="1"/>
          <p:nvPr/>
        </p:nvSpPr>
        <p:spPr>
          <a:xfrm>
            <a:off x="881743" y="2642426"/>
            <a:ext cx="1783373" cy="646331"/>
          </a:xfrm>
          <a:prstGeom prst="rect">
            <a:avLst/>
          </a:prstGeom>
          <a:noFill/>
        </p:spPr>
        <p:txBody>
          <a:bodyPr wrap="none" rtlCol="0">
            <a:spAutoFit/>
          </a:bodyPr>
          <a:lstStyle/>
          <a:p>
            <a:pPr algn="ctr"/>
            <a:r>
              <a:rPr lang="en-US"/>
              <a:t>INCREASED</a:t>
            </a:r>
            <a:br>
              <a:rPr lang="en-US"/>
            </a:br>
            <a:r>
              <a:rPr lang="en-US"/>
              <a:t>PREVALENCE </a:t>
            </a:r>
          </a:p>
        </p:txBody>
      </p:sp>
      <p:sp>
        <p:nvSpPr>
          <p:cNvPr id="81" name="TextBox 80">
            <a:extLst>
              <a:ext uri="{FF2B5EF4-FFF2-40B4-BE49-F238E27FC236}">
                <a16:creationId xmlns:a16="http://schemas.microsoft.com/office/drawing/2014/main" id="{324F2399-524D-554E-B8AD-20349412C99B}"/>
              </a:ext>
            </a:extLst>
          </p:cNvPr>
          <p:cNvSpPr txBox="1"/>
          <p:nvPr/>
        </p:nvSpPr>
        <p:spPr>
          <a:xfrm>
            <a:off x="3037840" y="2722746"/>
            <a:ext cx="2646437" cy="1371600"/>
          </a:xfrm>
          <a:prstGeom prst="roundRect">
            <a:avLst/>
          </a:prstGeom>
          <a:noFill/>
          <a:ln>
            <a:solidFill>
              <a:schemeClr val="bg2"/>
            </a:solidFill>
          </a:ln>
        </p:spPr>
        <p:txBody>
          <a:bodyPr wrap="square" rtlCol="0" anchor="ctr" anchorCtr="0">
            <a:noAutofit/>
          </a:bodyPr>
          <a:lstStyle/>
          <a:p>
            <a:pPr algn="ctr"/>
            <a:r>
              <a:rPr lang="en-US" sz="4800" b="1">
                <a:solidFill>
                  <a:schemeClr val="accent2"/>
                </a:solidFill>
              </a:rPr>
              <a:t>59.4%</a:t>
            </a:r>
          </a:p>
          <a:p>
            <a:pPr algn="ctr"/>
            <a:r>
              <a:rPr lang="en-US" b="1"/>
              <a:t>BRUXISM</a:t>
            </a:r>
          </a:p>
        </p:txBody>
      </p:sp>
      <p:sp>
        <p:nvSpPr>
          <p:cNvPr id="82" name="TextBox 81">
            <a:extLst>
              <a:ext uri="{FF2B5EF4-FFF2-40B4-BE49-F238E27FC236}">
                <a16:creationId xmlns:a16="http://schemas.microsoft.com/office/drawing/2014/main" id="{07899B7E-D101-F240-848B-FCB936E1225D}"/>
              </a:ext>
            </a:extLst>
          </p:cNvPr>
          <p:cNvSpPr txBox="1"/>
          <p:nvPr/>
        </p:nvSpPr>
        <p:spPr>
          <a:xfrm>
            <a:off x="5847494" y="2722746"/>
            <a:ext cx="2646437" cy="1371600"/>
          </a:xfrm>
          <a:prstGeom prst="roundRect">
            <a:avLst/>
          </a:prstGeom>
          <a:noFill/>
          <a:ln>
            <a:solidFill>
              <a:schemeClr val="bg2"/>
            </a:solidFill>
          </a:ln>
        </p:spPr>
        <p:txBody>
          <a:bodyPr wrap="square" rtlCol="0" anchor="ctr" anchorCtr="0">
            <a:noAutofit/>
          </a:bodyPr>
          <a:lstStyle/>
          <a:p>
            <a:pPr algn="ctr"/>
            <a:r>
              <a:rPr lang="en-US" sz="4800" b="1">
                <a:solidFill>
                  <a:schemeClr val="accent2"/>
                </a:solidFill>
              </a:rPr>
              <a:t>53.4%</a:t>
            </a:r>
          </a:p>
          <a:p>
            <a:pPr algn="ctr"/>
            <a:r>
              <a:rPr lang="en-US" b="1"/>
              <a:t>CHIPPED TEETH</a:t>
            </a:r>
          </a:p>
        </p:txBody>
      </p:sp>
      <p:sp>
        <p:nvSpPr>
          <p:cNvPr id="83" name="TextBox 82">
            <a:extLst>
              <a:ext uri="{FF2B5EF4-FFF2-40B4-BE49-F238E27FC236}">
                <a16:creationId xmlns:a16="http://schemas.microsoft.com/office/drawing/2014/main" id="{85AE2D2E-484A-3147-8B2C-1A96ED0D242C}"/>
              </a:ext>
            </a:extLst>
          </p:cNvPr>
          <p:cNvSpPr txBox="1"/>
          <p:nvPr/>
        </p:nvSpPr>
        <p:spPr>
          <a:xfrm>
            <a:off x="8692123" y="2722746"/>
            <a:ext cx="2646437" cy="1371600"/>
          </a:xfrm>
          <a:prstGeom prst="roundRect">
            <a:avLst/>
          </a:prstGeom>
          <a:noFill/>
          <a:ln>
            <a:solidFill>
              <a:schemeClr val="bg2"/>
            </a:solidFill>
          </a:ln>
        </p:spPr>
        <p:txBody>
          <a:bodyPr wrap="square" rtlCol="0" anchor="ctr" anchorCtr="0">
            <a:noAutofit/>
          </a:bodyPr>
          <a:lstStyle/>
          <a:p>
            <a:pPr algn="ctr"/>
            <a:r>
              <a:rPr lang="en-US" sz="4800" b="1">
                <a:solidFill>
                  <a:schemeClr val="accent2"/>
                </a:solidFill>
              </a:rPr>
              <a:t>53.4%</a:t>
            </a:r>
          </a:p>
          <a:p>
            <a:pPr algn="ctr"/>
            <a:r>
              <a:rPr lang="en-US" b="1"/>
              <a:t>CRACKED TEETH</a:t>
            </a:r>
          </a:p>
        </p:txBody>
      </p:sp>
      <p:sp>
        <p:nvSpPr>
          <p:cNvPr id="85" name="TextBox 84">
            <a:extLst>
              <a:ext uri="{FF2B5EF4-FFF2-40B4-BE49-F238E27FC236}">
                <a16:creationId xmlns:a16="http://schemas.microsoft.com/office/drawing/2014/main" id="{085FBD32-9A91-6C47-8987-6E37AE483625}"/>
              </a:ext>
            </a:extLst>
          </p:cNvPr>
          <p:cNvSpPr txBox="1"/>
          <p:nvPr/>
        </p:nvSpPr>
        <p:spPr>
          <a:xfrm>
            <a:off x="3037840" y="4269124"/>
            <a:ext cx="2646437" cy="1371600"/>
          </a:xfrm>
          <a:prstGeom prst="roundRect">
            <a:avLst/>
          </a:prstGeom>
          <a:noFill/>
          <a:ln>
            <a:solidFill>
              <a:schemeClr val="bg2"/>
            </a:solidFill>
          </a:ln>
        </p:spPr>
        <p:txBody>
          <a:bodyPr wrap="square" rtlCol="0" anchor="ctr" anchorCtr="0">
            <a:noAutofit/>
          </a:bodyPr>
          <a:lstStyle/>
          <a:p>
            <a:pPr algn="ctr"/>
            <a:r>
              <a:rPr lang="en-US" sz="4800" b="1">
                <a:solidFill>
                  <a:schemeClr val="accent2"/>
                </a:solidFill>
              </a:rPr>
              <a:t>53.4%</a:t>
            </a:r>
          </a:p>
          <a:p>
            <a:pPr algn="ctr"/>
            <a:r>
              <a:rPr lang="en-US" b="1"/>
              <a:t>TMD SYMPTOMS*</a:t>
            </a:r>
          </a:p>
        </p:txBody>
      </p:sp>
      <p:sp>
        <p:nvSpPr>
          <p:cNvPr id="86" name="TextBox 85">
            <a:extLst>
              <a:ext uri="{FF2B5EF4-FFF2-40B4-BE49-F238E27FC236}">
                <a16:creationId xmlns:a16="http://schemas.microsoft.com/office/drawing/2014/main" id="{EDF94728-F27E-EF4E-9F53-BCAEBFB0FAE9}"/>
              </a:ext>
            </a:extLst>
          </p:cNvPr>
          <p:cNvSpPr txBox="1"/>
          <p:nvPr/>
        </p:nvSpPr>
        <p:spPr>
          <a:xfrm>
            <a:off x="5847494" y="4269124"/>
            <a:ext cx="2646437" cy="1371600"/>
          </a:xfrm>
          <a:prstGeom prst="roundRect">
            <a:avLst/>
          </a:prstGeom>
          <a:noFill/>
          <a:ln>
            <a:solidFill>
              <a:schemeClr val="bg2"/>
            </a:solidFill>
          </a:ln>
        </p:spPr>
        <p:txBody>
          <a:bodyPr wrap="square" lIns="91440" tIns="45720" rIns="91440" bIns="45720" rtlCol="0" anchor="ctr" anchorCtr="0">
            <a:noAutofit/>
          </a:bodyPr>
          <a:lstStyle/>
          <a:p>
            <a:pPr algn="ctr"/>
            <a:r>
              <a:rPr lang="en-US" sz="4800" b="1">
                <a:solidFill>
                  <a:schemeClr val="accent3"/>
                </a:solidFill>
              </a:rPr>
              <a:t>26.4%</a:t>
            </a:r>
          </a:p>
          <a:p>
            <a:pPr algn="ctr"/>
            <a:r>
              <a:rPr lang="en-US" b="1"/>
              <a:t>CARIES</a:t>
            </a:r>
          </a:p>
        </p:txBody>
      </p:sp>
      <p:sp>
        <p:nvSpPr>
          <p:cNvPr id="87" name="TextBox 86">
            <a:extLst>
              <a:ext uri="{FF2B5EF4-FFF2-40B4-BE49-F238E27FC236}">
                <a16:creationId xmlns:a16="http://schemas.microsoft.com/office/drawing/2014/main" id="{BF927FC0-B483-3644-87C9-B12C253A1B09}"/>
              </a:ext>
            </a:extLst>
          </p:cNvPr>
          <p:cNvSpPr txBox="1"/>
          <p:nvPr/>
        </p:nvSpPr>
        <p:spPr>
          <a:xfrm>
            <a:off x="8692123" y="4269124"/>
            <a:ext cx="2646437" cy="1371600"/>
          </a:xfrm>
          <a:prstGeom prst="roundRect">
            <a:avLst/>
          </a:prstGeom>
          <a:noFill/>
          <a:ln>
            <a:solidFill>
              <a:schemeClr val="bg2"/>
            </a:solidFill>
          </a:ln>
        </p:spPr>
        <p:txBody>
          <a:bodyPr wrap="square" rtlCol="0" anchor="ctr" anchorCtr="0">
            <a:noAutofit/>
          </a:bodyPr>
          <a:lstStyle/>
          <a:p>
            <a:pPr algn="ctr"/>
            <a:r>
              <a:rPr lang="en-US" sz="4800" b="1">
                <a:solidFill>
                  <a:schemeClr val="accent3"/>
                </a:solidFill>
              </a:rPr>
              <a:t>29.7%</a:t>
            </a:r>
          </a:p>
          <a:p>
            <a:pPr algn="ctr"/>
            <a:r>
              <a:rPr lang="en-US" b="1"/>
              <a:t>PERIODONTAL DISEASE</a:t>
            </a:r>
          </a:p>
        </p:txBody>
      </p:sp>
    </p:spTree>
    <p:extLst>
      <p:ext uri="{BB962C8B-B14F-4D97-AF65-F5344CB8AC3E}">
        <p14:creationId xmlns:p14="http://schemas.microsoft.com/office/powerpoint/2010/main" val="377102773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DAD82C3-BE86-094B-953F-99730B59C30D}"/>
              </a:ext>
            </a:extLst>
          </p:cNvPr>
          <p:cNvSpPr/>
          <p:nvPr/>
        </p:nvSpPr>
        <p:spPr>
          <a:xfrm>
            <a:off x="647700" y="2014912"/>
            <a:ext cx="2006600" cy="313835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bIns="182880" rtlCol="0" anchor="b" anchorCtr="0"/>
          <a:lstStyle/>
          <a:p>
            <a:pPr lvl="0" algn="ctr">
              <a:lnSpc>
                <a:spcPct val="90000"/>
              </a:lnSpc>
              <a:defRPr/>
            </a:pPr>
            <a:r>
              <a:rPr lang="en-US" sz="2800" b="1">
                <a:solidFill>
                  <a:srgbClr val="006198"/>
                </a:solidFill>
              </a:rPr>
              <a:t>S</a:t>
            </a:r>
            <a:r>
              <a:rPr lang="en-US" sz="2000" b="1">
                <a:solidFill>
                  <a:srgbClr val="00205B"/>
                </a:solidFill>
              </a:rPr>
              <a:t>etting and </a:t>
            </a:r>
            <a:r>
              <a:rPr lang="en-US" sz="2800" b="1">
                <a:solidFill>
                  <a:srgbClr val="006198"/>
                </a:solidFill>
              </a:rPr>
              <a:t>S</a:t>
            </a:r>
            <a:r>
              <a:rPr lang="en-US" sz="2000" b="1">
                <a:solidFill>
                  <a:srgbClr val="00205B"/>
                </a:solidFill>
              </a:rPr>
              <a:t>peech</a:t>
            </a:r>
          </a:p>
          <a:p>
            <a:pPr lvl="0" algn="ctr">
              <a:lnSpc>
                <a:spcPct val="90000"/>
              </a:lnSpc>
              <a:defRPr/>
            </a:pPr>
            <a:endParaRPr lang="en-US" sz="2000" b="1">
              <a:solidFill>
                <a:srgbClr val="00205B"/>
              </a:solidFill>
            </a:endParaRPr>
          </a:p>
        </p:txBody>
      </p:sp>
      <p:sp>
        <p:nvSpPr>
          <p:cNvPr id="14" name="Rectangle 13">
            <a:extLst>
              <a:ext uri="{FF2B5EF4-FFF2-40B4-BE49-F238E27FC236}">
                <a16:creationId xmlns:a16="http://schemas.microsoft.com/office/drawing/2014/main" id="{58F52A69-5FDC-9540-8709-7B3C2C9300EC}"/>
              </a:ext>
            </a:extLst>
          </p:cNvPr>
          <p:cNvSpPr/>
          <p:nvPr/>
        </p:nvSpPr>
        <p:spPr>
          <a:xfrm>
            <a:off x="2859603" y="2014912"/>
            <a:ext cx="2006600" cy="313835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bIns="182880" rtlCol="0" anchor="b" anchorCtr="0"/>
          <a:lstStyle/>
          <a:p>
            <a:pPr lvl="0" algn="ctr">
              <a:lnSpc>
                <a:spcPct val="90000"/>
              </a:lnSpc>
              <a:defRPr/>
            </a:pPr>
            <a:r>
              <a:rPr lang="en-US" sz="2800" b="1">
                <a:solidFill>
                  <a:srgbClr val="006198"/>
                </a:solidFill>
              </a:rPr>
              <a:t>H</a:t>
            </a:r>
            <a:r>
              <a:rPr lang="en-US" sz="2000" b="1">
                <a:solidFill>
                  <a:srgbClr val="00205B"/>
                </a:solidFill>
              </a:rPr>
              <a:t>old eye contact</a:t>
            </a:r>
          </a:p>
          <a:p>
            <a:pPr lvl="0" algn="ctr">
              <a:lnSpc>
                <a:spcPct val="90000"/>
              </a:lnSpc>
              <a:defRPr/>
            </a:pPr>
            <a:r>
              <a:rPr lang="en-US" sz="2000" b="1">
                <a:solidFill>
                  <a:srgbClr val="00205B"/>
                </a:solidFill>
              </a:rPr>
              <a:t> </a:t>
            </a:r>
          </a:p>
        </p:txBody>
      </p:sp>
      <p:sp>
        <p:nvSpPr>
          <p:cNvPr id="15" name="Rectangle 14">
            <a:extLst>
              <a:ext uri="{FF2B5EF4-FFF2-40B4-BE49-F238E27FC236}">
                <a16:creationId xmlns:a16="http://schemas.microsoft.com/office/drawing/2014/main" id="{9F2B694D-1FE3-DA46-BCAD-A19076EE30F4}"/>
              </a:ext>
            </a:extLst>
          </p:cNvPr>
          <p:cNvSpPr/>
          <p:nvPr/>
        </p:nvSpPr>
        <p:spPr>
          <a:xfrm>
            <a:off x="5071506" y="2014912"/>
            <a:ext cx="2006600" cy="313835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bIns="182880" rtlCol="0" anchor="b" anchorCtr="0"/>
          <a:lstStyle/>
          <a:p>
            <a:pPr lvl="0" algn="ctr">
              <a:lnSpc>
                <a:spcPct val="90000"/>
              </a:lnSpc>
              <a:defRPr/>
            </a:pPr>
            <a:r>
              <a:rPr lang="en-US" sz="2800" b="1">
                <a:solidFill>
                  <a:srgbClr val="006198"/>
                </a:solidFill>
              </a:rPr>
              <a:t>A</a:t>
            </a:r>
            <a:r>
              <a:rPr lang="en-US" sz="2000" b="1">
                <a:solidFill>
                  <a:srgbClr val="00205B"/>
                </a:solidFill>
              </a:rPr>
              <a:t>sk </a:t>
            </a:r>
            <a:br>
              <a:rPr lang="en-US" sz="2000" b="1">
                <a:solidFill>
                  <a:srgbClr val="00205B"/>
                </a:solidFill>
              </a:rPr>
            </a:br>
            <a:r>
              <a:rPr lang="en-US" sz="2000" b="1">
                <a:solidFill>
                  <a:srgbClr val="00205B"/>
                </a:solidFill>
              </a:rPr>
              <a:t>open-ended questions</a:t>
            </a:r>
          </a:p>
        </p:txBody>
      </p:sp>
      <p:sp>
        <p:nvSpPr>
          <p:cNvPr id="16" name="Rectangle 15">
            <a:extLst>
              <a:ext uri="{FF2B5EF4-FFF2-40B4-BE49-F238E27FC236}">
                <a16:creationId xmlns:a16="http://schemas.microsoft.com/office/drawing/2014/main" id="{851E9D3E-5F48-1241-B1DA-4F53FB2C7327}"/>
              </a:ext>
            </a:extLst>
          </p:cNvPr>
          <p:cNvSpPr/>
          <p:nvPr/>
        </p:nvSpPr>
        <p:spPr>
          <a:xfrm>
            <a:off x="7283409" y="2014912"/>
            <a:ext cx="2006600" cy="313835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bIns="182880" rtlCol="0" anchor="b" anchorCtr="0"/>
          <a:lstStyle/>
          <a:p>
            <a:pPr lvl="0" algn="ctr">
              <a:lnSpc>
                <a:spcPct val="90000"/>
              </a:lnSpc>
              <a:defRPr/>
            </a:pPr>
            <a:r>
              <a:rPr lang="en-US" sz="2800" b="1">
                <a:solidFill>
                  <a:srgbClr val="006198"/>
                </a:solidFill>
              </a:rPr>
              <a:t>R</a:t>
            </a:r>
            <a:r>
              <a:rPr lang="en-US" sz="2000" b="1">
                <a:solidFill>
                  <a:srgbClr val="000000"/>
                </a:solidFill>
              </a:rPr>
              <a:t>elationally share information</a:t>
            </a:r>
          </a:p>
        </p:txBody>
      </p:sp>
      <p:sp>
        <p:nvSpPr>
          <p:cNvPr id="17" name="Rectangle 16">
            <a:extLst>
              <a:ext uri="{FF2B5EF4-FFF2-40B4-BE49-F238E27FC236}">
                <a16:creationId xmlns:a16="http://schemas.microsoft.com/office/drawing/2014/main" id="{B56EBA76-3126-3441-82D8-AE7B49E52310}"/>
              </a:ext>
            </a:extLst>
          </p:cNvPr>
          <p:cNvSpPr/>
          <p:nvPr/>
        </p:nvSpPr>
        <p:spPr>
          <a:xfrm>
            <a:off x="9495313" y="2014912"/>
            <a:ext cx="2006600" cy="313835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bIns="182880" rtlCol="0" anchor="b" anchorCtr="0"/>
          <a:lstStyle/>
          <a:p>
            <a:pPr lvl="0" algn="ctr">
              <a:lnSpc>
                <a:spcPct val="90000"/>
              </a:lnSpc>
              <a:defRPr/>
            </a:pPr>
            <a:r>
              <a:rPr lang="en-US" sz="2800" b="1">
                <a:solidFill>
                  <a:srgbClr val="006198"/>
                </a:solidFill>
              </a:rPr>
              <a:t>E</a:t>
            </a:r>
            <a:r>
              <a:rPr lang="en-US" sz="2000" b="1">
                <a:solidFill>
                  <a:srgbClr val="000000"/>
                </a:solidFill>
              </a:rPr>
              <a:t>xpress gratitude </a:t>
            </a:r>
            <a:br>
              <a:rPr lang="en-US" sz="2000" b="1">
                <a:solidFill>
                  <a:srgbClr val="000000"/>
                </a:solidFill>
              </a:rPr>
            </a:br>
            <a:r>
              <a:rPr lang="en-US" sz="2000" b="1">
                <a:solidFill>
                  <a:srgbClr val="000000"/>
                </a:solidFill>
              </a:rPr>
              <a:t>and warmth</a:t>
            </a:r>
          </a:p>
        </p:txBody>
      </p:sp>
      <p:sp>
        <p:nvSpPr>
          <p:cNvPr id="2" name="Title 1"/>
          <p:cNvSpPr>
            <a:spLocks noGrp="1"/>
          </p:cNvSpPr>
          <p:nvPr>
            <p:ph type="title"/>
          </p:nvPr>
        </p:nvSpPr>
        <p:spPr>
          <a:xfrm>
            <a:off x="675448" y="457200"/>
            <a:ext cx="10835640" cy="914400"/>
          </a:xfrm>
        </p:spPr>
        <p:txBody>
          <a:bodyPr anchor="t">
            <a:normAutofit fontScale="90000"/>
          </a:bodyPr>
          <a:lstStyle/>
          <a:p>
            <a:r>
              <a:rPr lang="en-US"/>
              <a:t>Learning to </a:t>
            </a:r>
            <a:r>
              <a:rPr lang="en-US">
                <a:solidFill>
                  <a:schemeClr val="accent1"/>
                </a:solidFill>
              </a:rPr>
              <a:t>SHARE</a:t>
            </a:r>
            <a:r>
              <a:rPr lang="en-US"/>
              <a:t>: Five Essentials for Patient-Centered Communication During Synchronous </a:t>
            </a:r>
            <a:r>
              <a:rPr lang="en-US" err="1"/>
              <a:t>Teledentistry</a:t>
            </a:r>
            <a:endParaRPr lang="en-US"/>
          </a:p>
        </p:txBody>
      </p:sp>
      <p:pic>
        <p:nvPicPr>
          <p:cNvPr id="12" name="Picture 11">
            <a:extLst>
              <a:ext uri="{FF2B5EF4-FFF2-40B4-BE49-F238E27FC236}">
                <a16:creationId xmlns:a16="http://schemas.microsoft.com/office/drawing/2014/main" id="{B943910E-29CE-BD46-8E42-7EEF058D299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9925971" y="2305184"/>
            <a:ext cx="1145283" cy="1161081"/>
          </a:xfrm>
          <a:prstGeom prst="rect">
            <a:avLst/>
          </a:prstGeom>
        </p:spPr>
      </p:pic>
      <p:pic>
        <p:nvPicPr>
          <p:cNvPr id="9" name="Picture 8">
            <a:extLst>
              <a:ext uri="{FF2B5EF4-FFF2-40B4-BE49-F238E27FC236}">
                <a16:creationId xmlns:a16="http://schemas.microsoft.com/office/drawing/2014/main" id="{4A5BC8EE-3051-D54B-8213-373778649D28}"/>
              </a:ext>
            </a:extLst>
          </p:cNvPr>
          <p:cNvPicPr>
            <a:picLocks noChangeAspect="1"/>
          </p:cNvPicPr>
          <p:nvPr/>
        </p:nvPicPr>
        <p:blipFill>
          <a:blip r:embed="rId4"/>
          <a:stretch>
            <a:fillRect/>
          </a:stretch>
        </p:blipFill>
        <p:spPr>
          <a:xfrm>
            <a:off x="7637393" y="2236408"/>
            <a:ext cx="1298631" cy="1298631"/>
          </a:xfrm>
          <a:prstGeom prst="rect">
            <a:avLst/>
          </a:prstGeom>
        </p:spPr>
      </p:pic>
      <p:pic>
        <p:nvPicPr>
          <p:cNvPr id="10" name="Picture 9">
            <a:extLst>
              <a:ext uri="{FF2B5EF4-FFF2-40B4-BE49-F238E27FC236}">
                <a16:creationId xmlns:a16="http://schemas.microsoft.com/office/drawing/2014/main" id="{FE853ACB-01A4-A54D-A457-A397903D8AE8}"/>
              </a:ext>
            </a:extLst>
          </p:cNvPr>
          <p:cNvPicPr>
            <a:picLocks noChangeAspect="1"/>
          </p:cNvPicPr>
          <p:nvPr/>
        </p:nvPicPr>
        <p:blipFill>
          <a:blip r:embed="rId5"/>
          <a:stretch>
            <a:fillRect/>
          </a:stretch>
        </p:blipFill>
        <p:spPr>
          <a:xfrm>
            <a:off x="5272987" y="2144574"/>
            <a:ext cx="1451353" cy="1451353"/>
          </a:xfrm>
          <a:prstGeom prst="rect">
            <a:avLst/>
          </a:prstGeom>
        </p:spPr>
      </p:pic>
      <p:pic>
        <p:nvPicPr>
          <p:cNvPr id="3" name="Picture 2">
            <a:extLst>
              <a:ext uri="{FF2B5EF4-FFF2-40B4-BE49-F238E27FC236}">
                <a16:creationId xmlns:a16="http://schemas.microsoft.com/office/drawing/2014/main" id="{D8847A1F-2BFB-AA40-9238-CD37B0F7FF58}"/>
              </a:ext>
            </a:extLst>
          </p:cNvPr>
          <p:cNvPicPr>
            <a:picLocks noChangeAspect="1"/>
          </p:cNvPicPr>
          <p:nvPr/>
        </p:nvPicPr>
        <p:blipFill>
          <a:blip r:embed="rId6"/>
          <a:stretch>
            <a:fillRect/>
          </a:stretch>
        </p:blipFill>
        <p:spPr>
          <a:xfrm flipH="1">
            <a:off x="3211013" y="2519749"/>
            <a:ext cx="1306215" cy="701002"/>
          </a:xfrm>
          <a:prstGeom prst="rect">
            <a:avLst/>
          </a:prstGeom>
        </p:spPr>
      </p:pic>
      <p:pic>
        <p:nvPicPr>
          <p:cNvPr id="18" name="Picture 17">
            <a:extLst>
              <a:ext uri="{FF2B5EF4-FFF2-40B4-BE49-F238E27FC236}">
                <a16:creationId xmlns:a16="http://schemas.microsoft.com/office/drawing/2014/main" id="{6F70E954-48A8-BC43-B32E-50DD10BC239D}"/>
              </a:ext>
            </a:extLst>
          </p:cNvPr>
          <p:cNvPicPr>
            <a:picLocks noChangeAspect="1"/>
          </p:cNvPicPr>
          <p:nvPr/>
        </p:nvPicPr>
        <p:blipFill>
          <a:blip r:embed="rId7"/>
          <a:stretch>
            <a:fillRect/>
          </a:stretch>
        </p:blipFill>
        <p:spPr>
          <a:xfrm>
            <a:off x="1120746" y="2287208"/>
            <a:ext cx="1015052" cy="1052787"/>
          </a:xfrm>
          <a:prstGeom prst="rect">
            <a:avLst/>
          </a:prstGeom>
        </p:spPr>
      </p:pic>
      <p:sp>
        <p:nvSpPr>
          <p:cNvPr id="19" name="Text Placeholder 6">
            <a:extLst>
              <a:ext uri="{FF2B5EF4-FFF2-40B4-BE49-F238E27FC236}">
                <a16:creationId xmlns:a16="http://schemas.microsoft.com/office/drawing/2014/main" id="{5F5AFB6A-A684-224F-8766-34CDF200A951}"/>
              </a:ext>
            </a:extLst>
          </p:cNvPr>
          <p:cNvSpPr txBox="1">
            <a:spLocks/>
          </p:cNvSpPr>
          <p:nvPr/>
        </p:nvSpPr>
        <p:spPr>
          <a:xfrm>
            <a:off x="502920" y="6351453"/>
            <a:ext cx="5593080" cy="336332"/>
          </a:xfrm>
          <a:prstGeom prst="rect">
            <a:avLst/>
          </a:prstGeom>
        </p:spPr>
        <p:txBody>
          <a:bodyPr/>
          <a:lstStyle>
            <a:lvl1pPr marL="0" indent="0" algn="l" defTabSz="457200" rtl="0" eaLnBrk="1" latinLnBrk="0" hangingPunct="1">
              <a:spcBef>
                <a:spcPts val="1200"/>
              </a:spcBef>
              <a:buFont typeface="Arial"/>
              <a:buNone/>
              <a:defRPr sz="2400" kern="1200">
                <a:solidFill>
                  <a:schemeClr val="tx1"/>
                </a:solidFill>
                <a:latin typeface="+mn-lt"/>
                <a:ea typeface="+mn-ea"/>
                <a:cs typeface="+mn-cs"/>
              </a:defRPr>
            </a:lvl1pPr>
            <a:lvl2pPr marL="742950" indent="-285750" algn="l" defTabSz="457200" rtl="0" eaLnBrk="1" latinLnBrk="0" hangingPunct="1">
              <a:spcBef>
                <a:spcPts val="1200"/>
              </a:spcBef>
              <a:buFont typeface="Arial" panose="020B0604020202020204" pitchFamily="34" charset="0"/>
              <a:buChar char="•"/>
              <a:defRPr sz="2200" kern="1200">
                <a:solidFill>
                  <a:schemeClr val="tx1"/>
                </a:solidFill>
                <a:latin typeface="+mn-lt"/>
                <a:ea typeface="+mn-ea"/>
                <a:cs typeface="+mn-cs"/>
              </a:defRPr>
            </a:lvl2pPr>
            <a:lvl3pPr marL="1143000" indent="-228600" algn="l" defTabSz="457200" rtl="0" eaLnBrk="1" latinLnBrk="0" hangingPunct="1">
              <a:spcBef>
                <a:spcPts val="1200"/>
              </a:spcBef>
              <a:buFont typeface=".AppleSystemUIFont"/>
              <a:buChar char="–"/>
              <a:defRPr sz="2000" kern="1200">
                <a:solidFill>
                  <a:schemeClr val="tx1"/>
                </a:solidFill>
                <a:latin typeface="+mn-lt"/>
                <a:ea typeface="+mn-ea"/>
                <a:cs typeface="+mn-cs"/>
              </a:defRPr>
            </a:lvl3pPr>
            <a:lvl4pPr marL="1600200" indent="-228600" algn="l" defTabSz="457200" rtl="0" eaLnBrk="1" latinLnBrk="0" hangingPunct="1">
              <a:spcBef>
                <a:spcPts val="1200"/>
              </a:spcBef>
              <a:buFont typeface="Arial" panose="020B0604020202020204" pitchFamily="34" charset="0"/>
              <a:buChar char="•"/>
              <a:defRPr sz="1800" kern="1200">
                <a:solidFill>
                  <a:schemeClr val="tx1"/>
                </a:solidFill>
                <a:latin typeface="+mn-lt"/>
                <a:ea typeface="+mn-ea"/>
                <a:cs typeface="+mn-cs"/>
              </a:defRPr>
            </a:lvl4pPr>
            <a:lvl5pPr marL="2057400" indent="-228600" algn="l" defTabSz="457200" rtl="0" eaLnBrk="1" latinLnBrk="0" hangingPunct="1">
              <a:spcBef>
                <a:spcPts val="1200"/>
              </a:spcBef>
              <a:buFont typeface=".AppleSystemUIFont"/>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US" sz="1000"/>
              <a:t>Allen, M., Brown, C. Five essentials for patient-centered communication during synchronous </a:t>
            </a:r>
            <a:r>
              <a:rPr lang="en-US" sz="1000" err="1"/>
              <a:t>teledentistry</a:t>
            </a:r>
            <a:r>
              <a:rPr lang="en-US" sz="1000"/>
              <a:t>. </a:t>
            </a:r>
            <a:r>
              <a:rPr lang="en-US" sz="1000" i="1"/>
              <a:t>BDJ In </a:t>
            </a:r>
            <a:r>
              <a:rPr lang="en-US" sz="1000" i="1" err="1"/>
              <a:t>Pract</a:t>
            </a:r>
            <a:r>
              <a:rPr lang="en-US" sz="1000"/>
              <a:t> </a:t>
            </a:r>
            <a:r>
              <a:rPr lang="en-US" sz="1000" b="1"/>
              <a:t>33, </a:t>
            </a:r>
            <a:r>
              <a:rPr lang="en-US" sz="1000"/>
              <a:t>23 (2020). https://</a:t>
            </a:r>
            <a:r>
              <a:rPr lang="en-US" sz="1000" err="1"/>
              <a:t>doi.org</a:t>
            </a:r>
            <a:r>
              <a:rPr lang="en-US" sz="1000"/>
              <a:t>/10.1038/s41404-020-0447-z</a:t>
            </a:r>
            <a:endParaRPr lang="en-US" sz="100"/>
          </a:p>
        </p:txBody>
      </p:sp>
      <p:pic>
        <p:nvPicPr>
          <p:cNvPr id="5" name="Picture 6" descr="Qr code&#10;&#10;Description automatically generated">
            <a:extLst>
              <a:ext uri="{FF2B5EF4-FFF2-40B4-BE49-F238E27FC236}">
                <a16:creationId xmlns:a16="http://schemas.microsoft.com/office/drawing/2014/main" id="{669A2D02-B764-4626-AC15-8B93545456C0}"/>
              </a:ext>
            </a:extLst>
          </p:cNvPr>
          <p:cNvPicPr>
            <a:picLocks noChangeAspect="1"/>
          </p:cNvPicPr>
          <p:nvPr/>
        </p:nvPicPr>
        <p:blipFill>
          <a:blip r:embed="rId8"/>
          <a:stretch>
            <a:fillRect/>
          </a:stretch>
        </p:blipFill>
        <p:spPr>
          <a:xfrm>
            <a:off x="10074934" y="233631"/>
            <a:ext cx="1358661" cy="1358661"/>
          </a:xfrm>
          <a:prstGeom prst="roundRect">
            <a:avLst>
              <a:gd name="adj" fmla="val 16667"/>
            </a:avLst>
          </a:prstGeom>
          <a:ln w="57150">
            <a:solidFill>
              <a:srgbClr val="4472C4"/>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6758738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319BB-625B-4082-931E-38D112869772}"/>
              </a:ext>
            </a:extLst>
          </p:cNvPr>
          <p:cNvSpPr>
            <a:spLocks noGrp="1"/>
          </p:cNvSpPr>
          <p:nvPr>
            <p:ph type="title"/>
          </p:nvPr>
        </p:nvSpPr>
        <p:spPr>
          <a:xfrm>
            <a:off x="502920" y="457200"/>
            <a:ext cx="10835640" cy="1558834"/>
          </a:xfrm>
        </p:spPr>
        <p:txBody>
          <a:bodyPr/>
          <a:lstStyle/>
          <a:p>
            <a:r>
              <a:rPr lang="en-US">
                <a:cs typeface="Arial"/>
              </a:rPr>
              <a:t>Objectives</a:t>
            </a:r>
            <a:br>
              <a:rPr lang="en-US">
                <a:cs typeface="Arial"/>
              </a:rPr>
            </a:br>
            <a:br>
              <a:rPr lang="en-US">
                <a:cs typeface="Arial"/>
              </a:rPr>
            </a:br>
            <a:r>
              <a:rPr lang="en-US" b="0">
                <a:cs typeface="Arial"/>
              </a:rPr>
              <a:t>After the session, participants will be able to: </a:t>
            </a:r>
            <a:endParaRPr lang="en-US" b="0"/>
          </a:p>
        </p:txBody>
      </p:sp>
      <p:sp>
        <p:nvSpPr>
          <p:cNvPr id="3" name="Subtitle 2">
            <a:extLst>
              <a:ext uri="{FF2B5EF4-FFF2-40B4-BE49-F238E27FC236}">
                <a16:creationId xmlns:a16="http://schemas.microsoft.com/office/drawing/2014/main" id="{FBDDE163-28C2-4B83-9887-390F7EEA2991}"/>
              </a:ext>
            </a:extLst>
          </p:cNvPr>
          <p:cNvSpPr>
            <a:spLocks noGrp="1"/>
          </p:cNvSpPr>
          <p:nvPr>
            <p:ph idx="1"/>
          </p:nvPr>
        </p:nvSpPr>
        <p:spPr>
          <a:xfrm>
            <a:off x="502920" y="2016034"/>
            <a:ext cx="10835640" cy="4384766"/>
          </a:xfrm>
        </p:spPr>
        <p:txBody>
          <a:bodyPr vert="horz" lIns="0" tIns="45720" rIns="0" bIns="45720" rtlCol="0" anchor="t">
            <a:noAutofit/>
          </a:bodyPr>
          <a:lstStyle/>
          <a:p>
            <a:pPr marL="457200" indent="-457200">
              <a:buAutoNum type="arabicPeriod"/>
            </a:pPr>
            <a:r>
              <a:rPr lang="en-US" b="0">
                <a:ea typeface="+mn-lt"/>
                <a:cs typeface="+mn-lt"/>
              </a:rPr>
              <a:t>Define </a:t>
            </a:r>
            <a:r>
              <a:rPr lang="en-US" b="0" err="1">
                <a:ea typeface="+mn-lt"/>
                <a:cs typeface="+mn-lt"/>
              </a:rPr>
              <a:t>teledentistry</a:t>
            </a:r>
            <a:r>
              <a:rPr lang="en-US" b="0">
                <a:ea typeface="+mn-lt"/>
                <a:cs typeface="+mn-lt"/>
              </a:rPr>
              <a:t> and describe the various modalities.</a:t>
            </a:r>
            <a:endParaRPr lang="en-US"/>
          </a:p>
          <a:p>
            <a:pPr marL="457200" indent="-457200">
              <a:buAutoNum type="arabicPeriod"/>
            </a:pPr>
            <a:r>
              <a:rPr lang="en-US" b="0">
                <a:ea typeface="+mn-lt"/>
                <a:cs typeface="+mn-lt"/>
              </a:rPr>
              <a:t>Use teledentistry to engage your patient population in the dental care delivery process. </a:t>
            </a:r>
          </a:p>
          <a:p>
            <a:pPr marL="457200" indent="-457200">
              <a:buAutoNum type="arabicPeriod"/>
            </a:pPr>
            <a:r>
              <a:rPr lang="en-US" b="0">
                <a:ea typeface="+mn-lt"/>
                <a:cs typeface="+mn-lt"/>
              </a:rPr>
              <a:t>Apply presented </a:t>
            </a:r>
            <a:r>
              <a:rPr lang="en-US" b="0" err="1">
                <a:ea typeface="+mn-lt"/>
                <a:cs typeface="+mn-lt"/>
              </a:rPr>
              <a:t>teledentistry</a:t>
            </a:r>
            <a:r>
              <a:rPr lang="en-US" b="0">
                <a:ea typeface="+mn-lt"/>
                <a:cs typeface="+mn-lt"/>
              </a:rPr>
              <a:t> workflows to clinical practice in order to deliver emergency and preventive services during the pandemic.</a:t>
            </a:r>
          </a:p>
          <a:p>
            <a:endParaRPr lang="en-US">
              <a:cs typeface="Arial"/>
            </a:endParaRPr>
          </a:p>
        </p:txBody>
      </p:sp>
    </p:spTree>
    <p:extLst>
      <p:ext uri="{BB962C8B-B14F-4D97-AF65-F5344CB8AC3E}">
        <p14:creationId xmlns:p14="http://schemas.microsoft.com/office/powerpoint/2010/main" val="15435901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A72DEBC-BECB-B647-953D-664E3EF7FC52}"/>
              </a:ext>
            </a:extLst>
          </p:cNvPr>
          <p:cNvSpPr/>
          <p:nvPr/>
        </p:nvSpPr>
        <p:spPr>
          <a:xfrm>
            <a:off x="9817768" y="6025415"/>
            <a:ext cx="1713297" cy="83258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4" name="Picture 3">
            <a:extLst>
              <a:ext uri="{FF2B5EF4-FFF2-40B4-BE49-F238E27FC236}">
                <a16:creationId xmlns:a16="http://schemas.microsoft.com/office/drawing/2014/main" id="{B34FFBE9-2916-BD49-8F95-B885DD204937}"/>
              </a:ext>
            </a:extLst>
          </p:cNvPr>
          <p:cNvPicPr>
            <a:picLocks noChangeAspect="1"/>
          </p:cNvPicPr>
          <p:nvPr/>
        </p:nvPicPr>
        <p:blipFill>
          <a:blip r:embed="rId3"/>
          <a:stretch>
            <a:fillRect/>
          </a:stretch>
        </p:blipFill>
        <p:spPr>
          <a:xfrm>
            <a:off x="1658470" y="0"/>
            <a:ext cx="8875059" cy="6858000"/>
          </a:xfrm>
          <a:prstGeom prst="rect">
            <a:avLst/>
          </a:prstGeom>
        </p:spPr>
      </p:pic>
    </p:spTree>
    <p:extLst>
      <p:ext uri="{BB962C8B-B14F-4D97-AF65-F5344CB8AC3E}">
        <p14:creationId xmlns:p14="http://schemas.microsoft.com/office/powerpoint/2010/main" val="31838287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screen shot of a person&#10;&#10;Description automatically generated">
            <a:extLst>
              <a:ext uri="{FF2B5EF4-FFF2-40B4-BE49-F238E27FC236}">
                <a16:creationId xmlns:a16="http://schemas.microsoft.com/office/drawing/2014/main" id="{851B4550-9C8B-EB45-9414-0EC42C4E41BA}"/>
              </a:ext>
            </a:extLst>
          </p:cNvPr>
          <p:cNvPicPr>
            <a:picLocks/>
          </p:cNvPicPr>
          <p:nvPr/>
        </p:nvPicPr>
        <p:blipFill rotWithShape="1">
          <a:blip r:embed="rId3"/>
          <a:srcRect t="5163" b="5325"/>
          <a:stretch/>
        </p:blipFill>
        <p:spPr>
          <a:xfrm>
            <a:off x="-1" y="0"/>
            <a:ext cx="12262104" cy="6858000"/>
          </a:xfrm>
          <a:prstGeom prst="rect">
            <a:avLst/>
          </a:prstGeom>
        </p:spPr>
      </p:pic>
      <p:sp>
        <p:nvSpPr>
          <p:cNvPr id="7" name="Freeform 6">
            <a:hlinkClick r:id="rId4"/>
            <a:extLst>
              <a:ext uri="{FF2B5EF4-FFF2-40B4-BE49-F238E27FC236}">
                <a16:creationId xmlns:a16="http://schemas.microsoft.com/office/drawing/2014/main" id="{6F437ECB-BDE0-9C4F-A879-FD62FEA08E2A}"/>
              </a:ext>
            </a:extLst>
          </p:cNvPr>
          <p:cNvSpPr/>
          <p:nvPr/>
        </p:nvSpPr>
        <p:spPr>
          <a:xfrm>
            <a:off x="7309103" y="6146800"/>
            <a:ext cx="4953000" cy="711200"/>
          </a:xfrm>
          <a:custGeom>
            <a:avLst/>
            <a:gdLst>
              <a:gd name="connsiteX0" fmla="*/ 179295 w 4953000"/>
              <a:gd name="connsiteY0" fmla="*/ 0 h 711200"/>
              <a:gd name="connsiteX1" fmla="*/ 4953000 w 4953000"/>
              <a:gd name="connsiteY1" fmla="*/ 0 h 711200"/>
              <a:gd name="connsiteX2" fmla="*/ 4953000 w 4953000"/>
              <a:gd name="connsiteY2" fmla="*/ 711200 h 711200"/>
              <a:gd name="connsiteX3" fmla="*/ 0 w 4953000"/>
              <a:gd name="connsiteY3" fmla="*/ 711200 h 711200"/>
              <a:gd name="connsiteX4" fmla="*/ 0 w 4953000"/>
              <a:gd name="connsiteY4" fmla="*/ 179920 h 711200"/>
              <a:gd name="connsiteX5" fmla="*/ 179295 w 4953000"/>
              <a:gd name="connsiteY5" fmla="*/ 0 h 711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953000" h="711200">
                <a:moveTo>
                  <a:pt x="179295" y="0"/>
                </a:moveTo>
                <a:lnTo>
                  <a:pt x="4953000" y="0"/>
                </a:lnTo>
                <a:lnTo>
                  <a:pt x="4953000" y="711200"/>
                </a:lnTo>
                <a:lnTo>
                  <a:pt x="0" y="711200"/>
                </a:lnTo>
                <a:lnTo>
                  <a:pt x="0" y="179920"/>
                </a:lnTo>
                <a:cubicBezTo>
                  <a:pt x="0" y="80553"/>
                  <a:pt x="80273" y="0"/>
                  <a:pt x="179295" y="0"/>
                </a:cubicBezTo>
                <a:close/>
              </a:path>
            </a:pathLst>
          </a:custGeom>
          <a:solidFill>
            <a:schemeClr val="bg1">
              <a:alpha val="66000"/>
            </a:schemeClr>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r>
              <a:rPr lang="en-US" sz="1600" err="1">
                <a:solidFill>
                  <a:schemeClr val="tx2"/>
                </a:solidFill>
              </a:rPr>
              <a:t>www.dentaquestpartnership.org</a:t>
            </a:r>
            <a:r>
              <a:rPr lang="en-US" sz="1600">
                <a:solidFill>
                  <a:schemeClr val="tx2"/>
                </a:solidFill>
              </a:rPr>
              <a:t>/</a:t>
            </a:r>
            <a:br>
              <a:rPr lang="en-US" sz="1600">
                <a:solidFill>
                  <a:schemeClr val="tx2"/>
                </a:solidFill>
              </a:rPr>
            </a:br>
            <a:r>
              <a:rPr lang="en-US" sz="1600">
                <a:solidFill>
                  <a:schemeClr val="tx2"/>
                </a:solidFill>
              </a:rPr>
              <a:t>customized-screens-patient-self-management</a:t>
            </a:r>
          </a:p>
        </p:txBody>
      </p:sp>
    </p:spTree>
    <p:extLst>
      <p:ext uri="{BB962C8B-B14F-4D97-AF65-F5344CB8AC3E}">
        <p14:creationId xmlns:p14="http://schemas.microsoft.com/office/powerpoint/2010/main" val="183318573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3EF7337B-92A9-43CB-8A2D-40658D2D8AB5}"/>
              </a:ext>
            </a:extLst>
          </p:cNvPr>
          <p:cNvSpPr/>
          <p:nvPr/>
        </p:nvSpPr>
        <p:spPr>
          <a:xfrm>
            <a:off x="9519920" y="5938520"/>
            <a:ext cx="2153920" cy="9144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3" name="Picture 3" descr="Chart&#10;&#10;Description automatically generated">
            <a:extLst>
              <a:ext uri="{FF2B5EF4-FFF2-40B4-BE49-F238E27FC236}">
                <a16:creationId xmlns:a16="http://schemas.microsoft.com/office/drawing/2014/main" id="{6035715F-CFF9-447E-BC9C-4BCF3760A6E4}"/>
              </a:ext>
            </a:extLst>
          </p:cNvPr>
          <p:cNvPicPr>
            <a:picLocks noChangeAspect="1"/>
          </p:cNvPicPr>
          <p:nvPr/>
        </p:nvPicPr>
        <p:blipFill>
          <a:blip r:embed="rId2"/>
          <a:stretch>
            <a:fillRect/>
          </a:stretch>
        </p:blipFill>
        <p:spPr>
          <a:xfrm>
            <a:off x="1798320" y="7099"/>
            <a:ext cx="8636000" cy="6864122"/>
          </a:xfrm>
          <a:prstGeom prst="rect">
            <a:avLst/>
          </a:prstGeom>
        </p:spPr>
      </p:pic>
    </p:spTree>
    <p:extLst>
      <p:ext uri="{BB962C8B-B14F-4D97-AF65-F5344CB8AC3E}">
        <p14:creationId xmlns:p14="http://schemas.microsoft.com/office/powerpoint/2010/main" val="35476926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DA7DCFA-6C1E-4C07-8A74-EA082162D80D}"/>
              </a:ext>
            </a:extLst>
          </p:cNvPr>
          <p:cNvSpPr>
            <a:spLocks noGrp="1"/>
          </p:cNvSpPr>
          <p:nvPr>
            <p:ph type="title"/>
          </p:nvPr>
        </p:nvSpPr>
        <p:spPr/>
        <p:txBody>
          <a:bodyPr/>
          <a:lstStyle/>
          <a:p>
            <a:r>
              <a:rPr lang="en-US" err="1">
                <a:cs typeface="Arial"/>
              </a:rPr>
              <a:t>Teledentistry</a:t>
            </a:r>
            <a:r>
              <a:rPr lang="en-US">
                <a:cs typeface="Arial"/>
              </a:rPr>
              <a:t> for Patient Education and Engagement</a:t>
            </a:r>
            <a:endParaRPr lang="en-US"/>
          </a:p>
        </p:txBody>
      </p:sp>
      <p:sp>
        <p:nvSpPr>
          <p:cNvPr id="2" name="Content Placeholder 1">
            <a:extLst>
              <a:ext uri="{FF2B5EF4-FFF2-40B4-BE49-F238E27FC236}">
                <a16:creationId xmlns:a16="http://schemas.microsoft.com/office/drawing/2014/main" id="{C0ED1B09-A36B-4486-B16E-3AA52CB3E3A8}"/>
              </a:ext>
            </a:extLst>
          </p:cNvPr>
          <p:cNvSpPr>
            <a:spLocks noGrp="1"/>
          </p:cNvSpPr>
          <p:nvPr>
            <p:ph idx="1"/>
          </p:nvPr>
        </p:nvSpPr>
        <p:spPr>
          <a:xfrm>
            <a:off x="502920" y="1430260"/>
            <a:ext cx="10835640" cy="4384766"/>
          </a:xfrm>
        </p:spPr>
        <p:txBody>
          <a:bodyPr vert="horz" lIns="0" tIns="45720" rIns="0" bIns="45720" rtlCol="0" anchor="t">
            <a:noAutofit/>
          </a:bodyPr>
          <a:lstStyle/>
          <a:p>
            <a:pPr marL="342900" indent="-342900">
              <a:buChar char="•"/>
            </a:pPr>
            <a:r>
              <a:rPr lang="en-US">
                <a:cs typeface="Arial"/>
              </a:rPr>
              <a:t>Allows for whole family, blended family, home care team participation</a:t>
            </a:r>
            <a:endParaRPr lang="en-US"/>
          </a:p>
          <a:p>
            <a:pPr marL="342900" indent="-342900">
              <a:buChar char="•"/>
            </a:pPr>
            <a:r>
              <a:rPr lang="en-US">
                <a:cs typeface="Arial"/>
              </a:rPr>
              <a:t>Shows home care tools, regimen in-home</a:t>
            </a:r>
          </a:p>
          <a:p>
            <a:pPr marL="342900" indent="-342900">
              <a:buChar char="•"/>
            </a:pPr>
            <a:r>
              <a:rPr lang="en-US">
                <a:cs typeface="Arial"/>
              </a:rPr>
              <a:t>Cost is not a barrier</a:t>
            </a:r>
          </a:p>
          <a:p>
            <a:pPr marL="342900" indent="-342900">
              <a:buChar char="•"/>
            </a:pPr>
            <a:r>
              <a:rPr lang="en-US">
                <a:cs typeface="Arial"/>
              </a:rPr>
              <a:t>Traditional "triggers" are absent (smell, sounds of a dental office)</a:t>
            </a:r>
          </a:p>
          <a:p>
            <a:pPr marL="342900" indent="-342900">
              <a:buChar char="•"/>
            </a:pPr>
            <a:r>
              <a:rPr lang="en-US">
                <a:cs typeface="Arial"/>
              </a:rPr>
              <a:t>People/Parents/Caregivers can engage differently</a:t>
            </a:r>
          </a:p>
          <a:p>
            <a:pPr marL="342900" indent="-342900">
              <a:buChar char="•"/>
            </a:pPr>
            <a:r>
              <a:rPr lang="en-US">
                <a:cs typeface="Arial"/>
              </a:rPr>
              <a:t>Utilize virtual tools (virtual screens, share screen)</a:t>
            </a:r>
          </a:p>
        </p:txBody>
      </p:sp>
      <p:sp>
        <p:nvSpPr>
          <p:cNvPr id="5" name="Text Placeholder 4">
            <a:extLst>
              <a:ext uri="{FF2B5EF4-FFF2-40B4-BE49-F238E27FC236}">
                <a16:creationId xmlns:a16="http://schemas.microsoft.com/office/drawing/2014/main" id="{CF2A3635-F10F-4B50-A9D8-85AB78BA58C1}"/>
              </a:ext>
            </a:extLst>
          </p:cNvPr>
          <p:cNvSpPr>
            <a:spLocks noGrp="1"/>
          </p:cNvSpPr>
          <p:nvPr>
            <p:ph type="body" sz="half" idx="2"/>
          </p:nvPr>
        </p:nvSpPr>
        <p:spPr/>
        <p:txBody>
          <a:bodyPr/>
          <a:lstStyle/>
          <a:p>
            <a:endParaRPr lang="en-US"/>
          </a:p>
        </p:txBody>
      </p:sp>
      <p:sp>
        <p:nvSpPr>
          <p:cNvPr id="3" name="Rectangle 2">
            <a:extLst>
              <a:ext uri="{FF2B5EF4-FFF2-40B4-BE49-F238E27FC236}">
                <a16:creationId xmlns:a16="http://schemas.microsoft.com/office/drawing/2014/main" id="{ADC4E103-EB03-470F-B82C-3E8B53239F31}"/>
              </a:ext>
            </a:extLst>
          </p:cNvPr>
          <p:cNvSpPr/>
          <p:nvPr/>
        </p:nvSpPr>
        <p:spPr>
          <a:xfrm>
            <a:off x="1901295" y="4840474"/>
            <a:ext cx="8575510" cy="1475916"/>
          </a:xfrm>
          <a:prstGeom prst="rect">
            <a:avLst/>
          </a:prstGeom>
          <a:noFill/>
          <a:ln w="41275">
            <a:solidFill>
              <a:schemeClr val="accent5"/>
            </a:solidFill>
          </a:ln>
          <a:effectLst/>
        </p:spPr>
        <p:style>
          <a:lnRef idx="1">
            <a:schemeClr val="accent1"/>
          </a:lnRef>
          <a:fillRef idx="3">
            <a:schemeClr val="accent1"/>
          </a:fillRef>
          <a:effectRef idx="2">
            <a:schemeClr val="accent1"/>
          </a:effectRef>
          <a:fontRef idx="minor">
            <a:schemeClr val="lt1"/>
          </a:fontRef>
        </p:style>
        <p:txBody>
          <a:bodyPr lIns="91440" tIns="182880" rIns="91440" bIns="45720" rtlCol="0" anchor="t" anchorCtr="0"/>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solidFill>
                  <a:schemeClr val="tx1"/>
                </a:solidFill>
              </a:rPr>
              <a:t>Varies based on diagnosis and patient preferences</a:t>
            </a:r>
            <a:endParaRPr lang="en-US">
              <a:solidFill>
                <a:schemeClr val="tx1"/>
              </a:solidFill>
            </a:endParaRPr>
          </a:p>
        </p:txBody>
      </p:sp>
      <p:sp>
        <p:nvSpPr>
          <p:cNvPr id="8" name="Rectangle 7">
            <a:extLst>
              <a:ext uri="{FF2B5EF4-FFF2-40B4-BE49-F238E27FC236}">
                <a16:creationId xmlns:a16="http://schemas.microsoft.com/office/drawing/2014/main" id="{130C6E75-CF24-4887-8C11-174FAC21745F}"/>
              </a:ext>
            </a:extLst>
          </p:cNvPr>
          <p:cNvSpPr/>
          <p:nvPr/>
        </p:nvSpPr>
        <p:spPr>
          <a:xfrm>
            <a:off x="2116676" y="5294034"/>
            <a:ext cx="1222804" cy="738723"/>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Caries Risk Assessment</a:t>
            </a:r>
            <a:endParaRPr lang="en-US"/>
          </a:p>
        </p:txBody>
      </p:sp>
      <p:sp>
        <p:nvSpPr>
          <p:cNvPr id="10" name="Rectangle 9">
            <a:extLst>
              <a:ext uri="{FF2B5EF4-FFF2-40B4-BE49-F238E27FC236}">
                <a16:creationId xmlns:a16="http://schemas.microsoft.com/office/drawing/2014/main" id="{49D0224D-5B2F-4784-978A-6E4E20099EF3}"/>
              </a:ext>
            </a:extLst>
          </p:cNvPr>
          <p:cNvSpPr/>
          <p:nvPr/>
        </p:nvSpPr>
        <p:spPr>
          <a:xfrm>
            <a:off x="3449039" y="5289684"/>
            <a:ext cx="1188042" cy="748492"/>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OTC or Rx Medication</a:t>
            </a:r>
            <a:endParaRPr lang="en-US"/>
          </a:p>
        </p:txBody>
      </p:sp>
      <p:sp>
        <p:nvSpPr>
          <p:cNvPr id="12" name="Rectangle 11">
            <a:extLst>
              <a:ext uri="{FF2B5EF4-FFF2-40B4-BE49-F238E27FC236}">
                <a16:creationId xmlns:a16="http://schemas.microsoft.com/office/drawing/2014/main" id="{5CDDF9BD-55EB-48D9-8CB2-5CDCC802B0E9}"/>
              </a:ext>
            </a:extLst>
          </p:cNvPr>
          <p:cNvSpPr/>
          <p:nvPr/>
        </p:nvSpPr>
        <p:spPr>
          <a:xfrm>
            <a:off x="4794697" y="5301654"/>
            <a:ext cx="1340141" cy="73872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Management Goals</a:t>
            </a:r>
            <a:endParaRPr lang="en-US"/>
          </a:p>
        </p:txBody>
      </p:sp>
      <p:sp>
        <p:nvSpPr>
          <p:cNvPr id="14" name="Rectangle 13">
            <a:extLst>
              <a:ext uri="{FF2B5EF4-FFF2-40B4-BE49-F238E27FC236}">
                <a16:creationId xmlns:a16="http://schemas.microsoft.com/office/drawing/2014/main" id="{92DAF2D9-A98B-4396-9217-90C6613E23B8}"/>
              </a:ext>
            </a:extLst>
          </p:cNvPr>
          <p:cNvSpPr/>
          <p:nvPr/>
        </p:nvSpPr>
        <p:spPr>
          <a:xfrm>
            <a:off x="6255527" y="5302115"/>
            <a:ext cx="1131638" cy="73872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Patient Education</a:t>
            </a:r>
            <a:endParaRPr lang="en-US"/>
          </a:p>
        </p:txBody>
      </p:sp>
      <p:sp>
        <p:nvSpPr>
          <p:cNvPr id="16" name="Rectangle 15">
            <a:extLst>
              <a:ext uri="{FF2B5EF4-FFF2-40B4-BE49-F238E27FC236}">
                <a16:creationId xmlns:a16="http://schemas.microsoft.com/office/drawing/2014/main" id="{F77243D8-9BE9-42FC-9D41-C43A9A142276}"/>
              </a:ext>
            </a:extLst>
          </p:cNvPr>
          <p:cNvSpPr/>
          <p:nvPr/>
        </p:nvSpPr>
        <p:spPr>
          <a:xfrm>
            <a:off x="7567196" y="5304264"/>
            <a:ext cx="1129427" cy="73872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Self Care Tips</a:t>
            </a:r>
            <a:endParaRPr lang="en-US"/>
          </a:p>
        </p:txBody>
      </p:sp>
      <p:sp>
        <p:nvSpPr>
          <p:cNvPr id="18" name="Rectangle 17">
            <a:extLst>
              <a:ext uri="{FF2B5EF4-FFF2-40B4-BE49-F238E27FC236}">
                <a16:creationId xmlns:a16="http://schemas.microsoft.com/office/drawing/2014/main" id="{EAF74230-6ED9-484D-8AE9-2C147FD6CDB2}"/>
              </a:ext>
            </a:extLst>
          </p:cNvPr>
          <p:cNvSpPr/>
          <p:nvPr/>
        </p:nvSpPr>
        <p:spPr>
          <a:xfrm>
            <a:off x="8823882" y="5309595"/>
            <a:ext cx="1364425" cy="738723"/>
          </a:xfrm>
          <a:prstGeom prst="rect">
            <a:avLst/>
          </a:prstGeom>
          <a:solidFill>
            <a:schemeClr val="accent3"/>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indent="0" algn="ctr">
              <a:lnSpc>
                <a:spcPct val="90000"/>
              </a:lnSpc>
              <a:buNone/>
            </a:pPr>
            <a:r>
              <a:rPr lang="en-US" sz="1050"/>
              <a:t> Care Plan</a:t>
            </a:r>
            <a:endParaRPr lang="en-US"/>
          </a:p>
        </p:txBody>
      </p:sp>
    </p:spTree>
    <p:extLst>
      <p:ext uri="{BB962C8B-B14F-4D97-AF65-F5344CB8AC3E}">
        <p14:creationId xmlns:p14="http://schemas.microsoft.com/office/powerpoint/2010/main" val="21192878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C6A2AF8-8444-4CCC-ACB8-F1E0FBD193FB}"/>
              </a:ext>
            </a:extLst>
          </p:cNvPr>
          <p:cNvSpPr>
            <a:spLocks noGrp="1"/>
          </p:cNvSpPr>
          <p:nvPr>
            <p:ph sz="half" idx="1"/>
          </p:nvPr>
        </p:nvSpPr>
        <p:spPr/>
        <p:txBody>
          <a:bodyPr/>
          <a:lstStyle/>
          <a:p>
            <a:pPr>
              <a:spcAft>
                <a:spcPts val="600"/>
              </a:spcAft>
            </a:pPr>
            <a:r>
              <a:rPr lang="en-US" b="1" err="1"/>
              <a:t>Teledental</a:t>
            </a:r>
            <a:r>
              <a:rPr lang="en-US" b="1"/>
              <a:t> Codes</a:t>
            </a:r>
          </a:p>
          <a:p>
            <a:r>
              <a:rPr lang="en-US" sz="2000"/>
              <a:t>D9995 – synchronous; </a:t>
            </a:r>
            <a:br>
              <a:rPr lang="en-US" sz="2000"/>
            </a:br>
            <a:r>
              <a:rPr lang="en-US" sz="2000"/>
              <a:t>real-time encounter</a:t>
            </a:r>
          </a:p>
          <a:p>
            <a:r>
              <a:rPr lang="en-US" sz="2000"/>
              <a:t>D9996 – asynchronous; information stored and forwarded to Dentists for subsequent review</a:t>
            </a:r>
          </a:p>
          <a:p>
            <a:endParaRPr lang="en-US"/>
          </a:p>
          <a:p>
            <a:endParaRPr lang="en-US"/>
          </a:p>
        </p:txBody>
      </p:sp>
      <p:sp>
        <p:nvSpPr>
          <p:cNvPr id="9" name="Content Placeholder 8">
            <a:extLst>
              <a:ext uri="{FF2B5EF4-FFF2-40B4-BE49-F238E27FC236}">
                <a16:creationId xmlns:a16="http://schemas.microsoft.com/office/drawing/2014/main" id="{685F9EC6-7183-4A9C-A0E4-378621950FF2}"/>
              </a:ext>
            </a:extLst>
          </p:cNvPr>
          <p:cNvSpPr>
            <a:spLocks noGrp="1"/>
          </p:cNvSpPr>
          <p:nvPr>
            <p:ph sz="half" idx="2"/>
          </p:nvPr>
        </p:nvSpPr>
        <p:spPr>
          <a:xfrm>
            <a:off x="3841653" y="1645920"/>
            <a:ext cx="3904174" cy="4389120"/>
          </a:xfrm>
        </p:spPr>
        <p:txBody>
          <a:bodyPr/>
          <a:lstStyle/>
          <a:p>
            <a:pPr>
              <a:spcAft>
                <a:spcPts val="600"/>
              </a:spcAft>
            </a:pPr>
            <a:r>
              <a:rPr lang="en-US" b="1"/>
              <a:t>Procedure Codes</a:t>
            </a:r>
          </a:p>
          <a:p>
            <a:r>
              <a:rPr lang="en-US" sz="2000"/>
              <a:t>Emergency: D0140, D0160, D0170, D0171</a:t>
            </a:r>
          </a:p>
          <a:p>
            <a:pPr>
              <a:spcBef>
                <a:spcPts val="600"/>
              </a:spcBef>
            </a:pPr>
            <a:r>
              <a:rPr lang="en-US" sz="2000"/>
              <a:t>Evaluation: D9430, D0170, D0171</a:t>
            </a:r>
          </a:p>
          <a:p>
            <a:pPr>
              <a:spcBef>
                <a:spcPts val="600"/>
              </a:spcBef>
            </a:pPr>
            <a:r>
              <a:rPr lang="en-US" sz="2000"/>
              <a:t>Palliative: D9910, D9630</a:t>
            </a:r>
          </a:p>
          <a:p>
            <a:pPr>
              <a:spcBef>
                <a:spcPts val="600"/>
              </a:spcBef>
            </a:pPr>
            <a:r>
              <a:rPr lang="en-US" sz="2000"/>
              <a:t>Preventative: D1310, D1320, D1330</a:t>
            </a:r>
          </a:p>
          <a:p>
            <a:pPr>
              <a:spcBef>
                <a:spcPts val="600"/>
              </a:spcBef>
            </a:pPr>
            <a:r>
              <a:rPr lang="en-US" sz="2000"/>
              <a:t>Assessment: D0190, D0191</a:t>
            </a:r>
          </a:p>
          <a:p>
            <a:endParaRPr lang="en-US"/>
          </a:p>
          <a:p>
            <a:endParaRPr lang="en-US"/>
          </a:p>
        </p:txBody>
      </p:sp>
      <p:sp>
        <p:nvSpPr>
          <p:cNvPr id="8" name="Title 7">
            <a:extLst>
              <a:ext uri="{FF2B5EF4-FFF2-40B4-BE49-F238E27FC236}">
                <a16:creationId xmlns:a16="http://schemas.microsoft.com/office/drawing/2014/main" id="{304E8051-C53C-4637-9D45-E69F809AA009}"/>
              </a:ext>
            </a:extLst>
          </p:cNvPr>
          <p:cNvSpPr>
            <a:spLocks noGrp="1"/>
          </p:cNvSpPr>
          <p:nvPr>
            <p:ph type="title"/>
          </p:nvPr>
        </p:nvSpPr>
        <p:spPr/>
        <p:txBody>
          <a:bodyPr/>
          <a:lstStyle/>
          <a:p>
            <a:r>
              <a:rPr lang="en-US">
                <a:cs typeface="Arial"/>
              </a:rPr>
              <a:t>Coding and Billing for Teledentistry </a:t>
            </a:r>
            <a:br>
              <a:rPr lang="en-US"/>
            </a:br>
            <a:endParaRPr lang="en-US"/>
          </a:p>
        </p:txBody>
      </p:sp>
      <p:sp>
        <p:nvSpPr>
          <p:cNvPr id="10" name="Text Placeholder 9">
            <a:extLst>
              <a:ext uri="{FF2B5EF4-FFF2-40B4-BE49-F238E27FC236}">
                <a16:creationId xmlns:a16="http://schemas.microsoft.com/office/drawing/2014/main" id="{82D8A3BA-E9F2-4299-86CC-D31FA828A42E}"/>
              </a:ext>
            </a:extLst>
          </p:cNvPr>
          <p:cNvSpPr>
            <a:spLocks noGrp="1"/>
          </p:cNvSpPr>
          <p:nvPr>
            <p:ph type="body" sz="half" idx="10"/>
          </p:nvPr>
        </p:nvSpPr>
        <p:spPr/>
        <p:txBody>
          <a:bodyPr/>
          <a:lstStyle/>
          <a:p>
            <a:r>
              <a:rPr lang="en-US">
                <a:solidFill>
                  <a:schemeClr val="tx2"/>
                </a:solidFill>
              </a:rPr>
              <a:t>Refer to ADA </a:t>
            </a:r>
            <a:r>
              <a:rPr lang="en-US">
                <a:solidFill>
                  <a:schemeClr val="tx2"/>
                </a:solidFill>
                <a:hlinkClick r:id="rId3">
                  <a:extLst>
                    <a:ext uri="{A12FA001-AC4F-418D-AE19-62706E023703}">
                      <ahyp:hlinkClr xmlns:ahyp="http://schemas.microsoft.com/office/drawing/2018/hyperlinkcolor" val="tx"/>
                    </a:ext>
                  </a:extLst>
                </a:hlinkClick>
              </a:rPr>
              <a:t>https://success.ada.org/~/media/CPS/Files/COVID/ADA_COVID_Coding_and_Billing_Guidance.pdf</a:t>
            </a:r>
            <a:endParaRPr lang="en-US">
              <a:solidFill>
                <a:schemeClr val="tx2"/>
              </a:solidFill>
            </a:endParaRPr>
          </a:p>
          <a:p>
            <a:endParaRPr lang="en-US"/>
          </a:p>
        </p:txBody>
      </p:sp>
      <p:sp>
        <p:nvSpPr>
          <p:cNvPr id="11" name="Content Placeholder 10">
            <a:extLst>
              <a:ext uri="{FF2B5EF4-FFF2-40B4-BE49-F238E27FC236}">
                <a16:creationId xmlns:a16="http://schemas.microsoft.com/office/drawing/2014/main" id="{7FDEEFDC-E8C2-4FDF-9AD3-F87019A33351}"/>
              </a:ext>
            </a:extLst>
          </p:cNvPr>
          <p:cNvSpPr>
            <a:spLocks noGrp="1"/>
          </p:cNvSpPr>
          <p:nvPr>
            <p:ph sz="half" idx="11"/>
          </p:nvPr>
        </p:nvSpPr>
        <p:spPr/>
        <p:txBody>
          <a:bodyPr/>
          <a:lstStyle/>
          <a:p>
            <a:pPr>
              <a:lnSpc>
                <a:spcPct val="90000"/>
              </a:lnSpc>
            </a:pPr>
            <a:r>
              <a:rPr lang="en-US" b="1"/>
              <a:t>Caries Risk Assessment Codes</a:t>
            </a:r>
          </a:p>
          <a:p>
            <a:r>
              <a:rPr lang="en-US" sz="2000"/>
              <a:t>D0601 – low risk</a:t>
            </a:r>
          </a:p>
          <a:p>
            <a:pPr>
              <a:spcBef>
                <a:spcPts val="600"/>
              </a:spcBef>
            </a:pPr>
            <a:r>
              <a:rPr lang="en-US" sz="2000"/>
              <a:t>D0602 – moderate risk</a:t>
            </a:r>
          </a:p>
          <a:p>
            <a:r>
              <a:rPr lang="en-US" sz="2000"/>
              <a:t>D0603 – high risk</a:t>
            </a:r>
          </a:p>
          <a:p>
            <a:pPr>
              <a:lnSpc>
                <a:spcPct val="90000"/>
              </a:lnSpc>
              <a:spcBef>
                <a:spcPts val="2400"/>
              </a:spcBef>
              <a:spcAft>
                <a:spcPts val="600"/>
              </a:spcAft>
            </a:pPr>
            <a:r>
              <a:rPr lang="en-US" b="1"/>
              <a:t>Case Management Codes</a:t>
            </a:r>
          </a:p>
          <a:p>
            <a:pPr>
              <a:spcBef>
                <a:spcPts val="600"/>
              </a:spcBef>
            </a:pPr>
            <a:r>
              <a:rPr lang="en-US" sz="2000"/>
              <a:t>D9992 – care coordination </a:t>
            </a:r>
          </a:p>
          <a:p>
            <a:pPr>
              <a:spcBef>
                <a:spcPts val="600"/>
              </a:spcBef>
            </a:pPr>
            <a:r>
              <a:rPr lang="en-US" sz="2000"/>
              <a:t>D9994 – patient education</a:t>
            </a:r>
          </a:p>
          <a:p>
            <a:endParaRPr lang="en-US"/>
          </a:p>
          <a:p>
            <a:endParaRPr lang="en-US"/>
          </a:p>
          <a:p>
            <a:endParaRPr lang="en-US"/>
          </a:p>
        </p:txBody>
      </p:sp>
      <p:sp>
        <p:nvSpPr>
          <p:cNvPr id="12" name="Content Placeholder 2">
            <a:extLst>
              <a:ext uri="{FF2B5EF4-FFF2-40B4-BE49-F238E27FC236}">
                <a16:creationId xmlns:a16="http://schemas.microsoft.com/office/drawing/2014/main" id="{F81326B6-FB02-3F4B-91EE-705F0DF1F357}"/>
              </a:ext>
            </a:extLst>
          </p:cNvPr>
          <p:cNvSpPr txBox="1">
            <a:spLocks/>
          </p:cNvSpPr>
          <p:nvPr/>
        </p:nvSpPr>
        <p:spPr>
          <a:xfrm>
            <a:off x="8071663" y="4663440"/>
            <a:ext cx="3337560" cy="4389120"/>
          </a:xfrm>
          <a:prstGeom prst="rect">
            <a:avLst/>
          </a:prstGeom>
        </p:spPr>
        <p:txBody>
          <a:bodyPr vert="horz" lIns="0" tIns="45720" rIns="0" bIns="45720" rtlCol="0">
            <a:noAutofit/>
          </a:bodyPr>
          <a:lstStyle>
            <a:lvl1pPr marL="0" indent="0" algn="l" defTabSz="457200" rtl="0" eaLnBrk="1" latinLnBrk="0" hangingPunct="1">
              <a:spcBef>
                <a:spcPts val="1200"/>
              </a:spcBef>
              <a:buFont typeface="Arial"/>
              <a:buNone/>
              <a:defRPr sz="2400" kern="1200">
                <a:solidFill>
                  <a:schemeClr val="tx1"/>
                </a:solidFill>
                <a:latin typeface="+mn-lt"/>
                <a:ea typeface="+mn-ea"/>
                <a:cs typeface="+mn-cs"/>
              </a:defRPr>
            </a:lvl1pPr>
            <a:lvl2pPr marL="579438" indent="-230188" algn="l" defTabSz="457200" rtl="0" eaLnBrk="1" latinLnBrk="0" hangingPunct="1">
              <a:spcBef>
                <a:spcPts val="1200"/>
              </a:spcBef>
              <a:buFont typeface="Arial" panose="020B0604020202020204" pitchFamily="34" charset="0"/>
              <a:buChar char="•"/>
              <a:tabLst/>
              <a:defRPr sz="2200" kern="1200">
                <a:solidFill>
                  <a:schemeClr val="tx1"/>
                </a:solidFill>
                <a:latin typeface="+mn-lt"/>
                <a:ea typeface="+mn-ea"/>
                <a:cs typeface="+mn-cs"/>
              </a:defRPr>
            </a:lvl2pPr>
            <a:lvl3pPr marL="1028700" indent="-219075" algn="l" defTabSz="457200" rtl="0" eaLnBrk="1" latinLnBrk="0" hangingPunct="1">
              <a:spcBef>
                <a:spcPts val="1200"/>
              </a:spcBef>
              <a:buFont typeface=".AppleSystemUIFont"/>
              <a:buChar char="–"/>
              <a:tabLst/>
              <a:defRPr sz="2400" kern="1200">
                <a:solidFill>
                  <a:schemeClr val="tx1"/>
                </a:solidFill>
                <a:latin typeface="+mn-lt"/>
                <a:ea typeface="+mn-ea"/>
                <a:cs typeface="+mn-cs"/>
              </a:defRPr>
            </a:lvl3pPr>
            <a:lvl4pPr marL="1600200" indent="-228600" algn="l" defTabSz="457200" rtl="0" eaLnBrk="1" latinLnBrk="0" hangingPunct="1">
              <a:spcBef>
                <a:spcPts val="1200"/>
              </a:spcBef>
              <a:buFont typeface="Arial" panose="020B0604020202020204" pitchFamily="34" charset="0"/>
              <a:buChar char="•"/>
              <a:defRPr sz="2400" kern="1200">
                <a:solidFill>
                  <a:schemeClr val="tx1"/>
                </a:solidFill>
                <a:latin typeface="+mn-lt"/>
                <a:ea typeface="+mn-ea"/>
                <a:cs typeface="+mn-cs"/>
              </a:defRPr>
            </a:lvl4pPr>
            <a:lvl5pPr marL="2057400" indent="-228600" algn="l" defTabSz="457200" rtl="0" eaLnBrk="1" latinLnBrk="0" hangingPunct="1">
              <a:spcBef>
                <a:spcPts val="1200"/>
              </a:spcBef>
              <a:buFont typeface=".AppleSystemUIFont"/>
              <a:buChar char="-"/>
              <a:defRPr sz="24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18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18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18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1800" kern="1200">
                <a:solidFill>
                  <a:schemeClr val="tx1"/>
                </a:solidFill>
                <a:latin typeface="+mn-lt"/>
                <a:ea typeface="+mn-ea"/>
                <a:cs typeface="+mn-cs"/>
              </a:defRPr>
            </a:lvl9pPr>
          </a:lstStyle>
          <a:p>
            <a:endParaRPr lang="en-US"/>
          </a:p>
        </p:txBody>
      </p:sp>
      <p:pic>
        <p:nvPicPr>
          <p:cNvPr id="14" name="Picture 13">
            <a:extLst>
              <a:ext uri="{FF2B5EF4-FFF2-40B4-BE49-F238E27FC236}">
                <a16:creationId xmlns:a16="http://schemas.microsoft.com/office/drawing/2014/main" id="{8FCB3C6B-903B-2D4F-91ED-110D24BB4A0A}"/>
              </a:ext>
            </a:extLst>
          </p:cNvPr>
          <p:cNvPicPr>
            <a:picLocks noChangeAspect="1"/>
          </p:cNvPicPr>
          <p:nvPr/>
        </p:nvPicPr>
        <p:blipFill>
          <a:blip r:embed="rId4"/>
          <a:stretch>
            <a:fillRect/>
          </a:stretch>
        </p:blipFill>
        <p:spPr>
          <a:xfrm>
            <a:off x="10364723" y="374038"/>
            <a:ext cx="1515034" cy="1080724"/>
          </a:xfrm>
          <a:prstGeom prst="rect">
            <a:avLst/>
          </a:prstGeom>
        </p:spPr>
      </p:pic>
      <p:cxnSp>
        <p:nvCxnSpPr>
          <p:cNvPr id="16" name="Straight Connector 15">
            <a:extLst>
              <a:ext uri="{FF2B5EF4-FFF2-40B4-BE49-F238E27FC236}">
                <a16:creationId xmlns:a16="http://schemas.microsoft.com/office/drawing/2014/main" id="{0D216910-E3F2-8444-896D-D7B1D79C9999}"/>
              </a:ext>
            </a:extLst>
          </p:cNvPr>
          <p:cNvCxnSpPr>
            <a:cxnSpLocks/>
          </p:cNvCxnSpPr>
          <p:nvPr/>
        </p:nvCxnSpPr>
        <p:spPr>
          <a:xfrm>
            <a:off x="472841" y="2122141"/>
            <a:ext cx="2902017" cy="0"/>
          </a:xfrm>
          <a:prstGeom prst="line">
            <a:avLst/>
          </a:prstGeom>
          <a:ln w="22225">
            <a:solidFill>
              <a:schemeClr val="accent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0" name="Straight Connector 19">
            <a:extLst>
              <a:ext uri="{FF2B5EF4-FFF2-40B4-BE49-F238E27FC236}">
                <a16:creationId xmlns:a16="http://schemas.microsoft.com/office/drawing/2014/main" id="{CCD66362-F4D2-F942-93AB-DE96AC75CB0F}"/>
              </a:ext>
            </a:extLst>
          </p:cNvPr>
          <p:cNvCxnSpPr>
            <a:cxnSpLocks/>
          </p:cNvCxnSpPr>
          <p:nvPr/>
        </p:nvCxnSpPr>
        <p:spPr>
          <a:xfrm>
            <a:off x="3890899" y="2122141"/>
            <a:ext cx="2902017" cy="0"/>
          </a:xfrm>
          <a:prstGeom prst="line">
            <a:avLst/>
          </a:prstGeom>
          <a:ln w="22225">
            <a:solidFill>
              <a:schemeClr val="accent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1" name="Straight Connector 20">
            <a:extLst>
              <a:ext uri="{FF2B5EF4-FFF2-40B4-BE49-F238E27FC236}">
                <a16:creationId xmlns:a16="http://schemas.microsoft.com/office/drawing/2014/main" id="{31D775F4-D32A-544B-9F0C-D9FDF0CCDE92}"/>
              </a:ext>
            </a:extLst>
          </p:cNvPr>
          <p:cNvCxnSpPr>
            <a:cxnSpLocks/>
          </p:cNvCxnSpPr>
          <p:nvPr/>
        </p:nvCxnSpPr>
        <p:spPr>
          <a:xfrm>
            <a:off x="7997046" y="2400816"/>
            <a:ext cx="2902017" cy="0"/>
          </a:xfrm>
          <a:prstGeom prst="line">
            <a:avLst/>
          </a:prstGeom>
          <a:ln w="22225">
            <a:solidFill>
              <a:schemeClr val="accent2"/>
            </a:solidFill>
            <a:tailEnd type="none"/>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4A97ADD9-69C1-EA4D-AF13-DF66EF4369CD}"/>
              </a:ext>
            </a:extLst>
          </p:cNvPr>
          <p:cNvCxnSpPr>
            <a:cxnSpLocks/>
          </p:cNvCxnSpPr>
          <p:nvPr/>
        </p:nvCxnSpPr>
        <p:spPr>
          <a:xfrm>
            <a:off x="7997046" y="4647627"/>
            <a:ext cx="2902017" cy="0"/>
          </a:xfrm>
          <a:prstGeom prst="line">
            <a:avLst/>
          </a:prstGeom>
          <a:ln w="22225">
            <a:solidFill>
              <a:schemeClr val="accent2"/>
            </a:solidFill>
            <a:tailEnd type="none"/>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53365883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BA8BD2-6808-4DF4-820F-10E72FF1198B}"/>
              </a:ext>
            </a:extLst>
          </p:cNvPr>
          <p:cNvSpPr>
            <a:spLocks noGrp="1"/>
          </p:cNvSpPr>
          <p:nvPr>
            <p:ph type="title"/>
          </p:nvPr>
        </p:nvSpPr>
        <p:spPr/>
        <p:txBody>
          <a:bodyPr/>
          <a:lstStyle/>
          <a:p>
            <a:r>
              <a:rPr lang="en-US">
                <a:cs typeface="Arial"/>
              </a:rPr>
              <a:t>Chat Question</a:t>
            </a:r>
            <a:endParaRPr lang="en-US"/>
          </a:p>
        </p:txBody>
      </p:sp>
      <p:sp>
        <p:nvSpPr>
          <p:cNvPr id="4" name="Text Placeholder 3">
            <a:extLst>
              <a:ext uri="{FF2B5EF4-FFF2-40B4-BE49-F238E27FC236}">
                <a16:creationId xmlns:a16="http://schemas.microsoft.com/office/drawing/2014/main" id="{42850651-4114-4512-BC05-36B4B0221B24}"/>
              </a:ext>
            </a:extLst>
          </p:cNvPr>
          <p:cNvSpPr>
            <a:spLocks noGrp="1"/>
          </p:cNvSpPr>
          <p:nvPr>
            <p:ph type="body" sz="half" idx="2"/>
          </p:nvPr>
        </p:nvSpPr>
        <p:spPr/>
        <p:txBody>
          <a:bodyPr/>
          <a:lstStyle/>
          <a:p>
            <a:endParaRPr lang="en-US"/>
          </a:p>
        </p:txBody>
      </p:sp>
      <p:sp>
        <p:nvSpPr>
          <p:cNvPr id="6" name="Rectangle: Rounded Corners 5">
            <a:extLst>
              <a:ext uri="{FF2B5EF4-FFF2-40B4-BE49-F238E27FC236}">
                <a16:creationId xmlns:a16="http://schemas.microsoft.com/office/drawing/2014/main" id="{EC2F4F8B-DE94-413D-AD94-799740887C54}"/>
              </a:ext>
            </a:extLst>
          </p:cNvPr>
          <p:cNvSpPr/>
          <p:nvPr/>
        </p:nvSpPr>
        <p:spPr>
          <a:xfrm>
            <a:off x="4172309" y="1835990"/>
            <a:ext cx="6607832" cy="3200398"/>
          </a:xfrm>
          <a:prstGeom prst="roundRect">
            <a:avLst/>
          </a:prstGeom>
          <a:solidFill>
            <a:schemeClr val="tx2"/>
          </a:solidFill>
          <a:ln w="57150">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000">
              <a:ea typeface="+mn-lt"/>
              <a:cs typeface="+mn-lt"/>
            </a:endParaRPr>
          </a:p>
          <a:p>
            <a:pPr algn="ctr"/>
            <a:endParaRPr lang="en-US" sz="3000">
              <a:ea typeface="+mn-lt"/>
              <a:cs typeface="+mn-lt"/>
            </a:endParaRPr>
          </a:p>
          <a:p>
            <a:pPr algn="ctr"/>
            <a:r>
              <a:rPr lang="en-US" sz="3000">
                <a:ea typeface="+mn-lt"/>
                <a:cs typeface="+mn-lt"/>
              </a:rPr>
              <a:t>What is one thing you learned from today that you can put into action going forward?</a:t>
            </a:r>
            <a:endParaRPr lang="en-US"/>
          </a:p>
          <a:p>
            <a:pPr algn="ctr"/>
            <a:endParaRPr lang="en-US" b="1">
              <a:ea typeface="+mn-lt"/>
              <a:cs typeface="+mn-lt"/>
            </a:endParaRPr>
          </a:p>
          <a:p>
            <a:endParaRPr lang="en-US">
              <a:cs typeface="Arial"/>
            </a:endParaRPr>
          </a:p>
          <a:p>
            <a:pPr>
              <a:buFont typeface="Arial"/>
            </a:pPr>
            <a:endParaRPr lang="en-US">
              <a:cs typeface="Arial"/>
            </a:endParaRPr>
          </a:p>
          <a:p>
            <a:pPr algn="ctr"/>
            <a:endParaRPr lang="en-US">
              <a:cs typeface="Arial"/>
            </a:endParaRPr>
          </a:p>
        </p:txBody>
      </p:sp>
      <p:pic>
        <p:nvPicPr>
          <p:cNvPr id="15" name="Picture 14" descr="A picture containing object, clock&#10;&#10;Description automatically generated">
            <a:extLst>
              <a:ext uri="{FF2B5EF4-FFF2-40B4-BE49-F238E27FC236}">
                <a16:creationId xmlns:a16="http://schemas.microsoft.com/office/drawing/2014/main" id="{209C1B0D-3B2F-41B6-A6A0-2FF0FEE98C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629138" y="2588385"/>
            <a:ext cx="1892539" cy="2079447"/>
          </a:xfrm>
          <a:prstGeom prst="rect">
            <a:avLst/>
          </a:prstGeom>
        </p:spPr>
      </p:pic>
    </p:spTree>
    <p:extLst>
      <p:ext uri="{BB962C8B-B14F-4D97-AF65-F5344CB8AC3E}">
        <p14:creationId xmlns:p14="http://schemas.microsoft.com/office/powerpoint/2010/main" val="424649599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8B5123-7570-46EE-B18A-A18B6B5D5FDB}"/>
              </a:ext>
            </a:extLst>
          </p:cNvPr>
          <p:cNvSpPr>
            <a:spLocks noGrp="1"/>
          </p:cNvSpPr>
          <p:nvPr>
            <p:ph type="title"/>
          </p:nvPr>
        </p:nvSpPr>
        <p:spPr>
          <a:xfrm>
            <a:off x="502920" y="457200"/>
            <a:ext cx="10835640" cy="914400"/>
          </a:xfrm>
        </p:spPr>
        <p:txBody>
          <a:bodyPr anchor="t">
            <a:normAutofit/>
          </a:bodyPr>
          <a:lstStyle/>
          <a:p>
            <a:r>
              <a:rPr lang="en-US"/>
              <a:t>Resources </a:t>
            </a:r>
          </a:p>
        </p:txBody>
      </p:sp>
      <p:pic>
        <p:nvPicPr>
          <p:cNvPr id="5" name="Picture 5" descr="Graphical user interface, website&#10;&#10;Description automatically generated">
            <a:extLst>
              <a:ext uri="{FF2B5EF4-FFF2-40B4-BE49-F238E27FC236}">
                <a16:creationId xmlns:a16="http://schemas.microsoft.com/office/drawing/2014/main" id="{9241FB64-CC23-4E8E-8751-95E8226F01A0}"/>
              </a:ext>
            </a:extLst>
          </p:cNvPr>
          <p:cNvPicPr>
            <a:picLocks noChangeAspect="1"/>
          </p:cNvPicPr>
          <p:nvPr/>
        </p:nvPicPr>
        <p:blipFill>
          <a:blip r:embed="rId3"/>
          <a:stretch>
            <a:fillRect/>
          </a:stretch>
        </p:blipFill>
        <p:spPr>
          <a:xfrm>
            <a:off x="254942" y="1128335"/>
            <a:ext cx="8815559" cy="5017369"/>
          </a:xfrm>
          <a:prstGeom prst="roundRect">
            <a:avLst>
              <a:gd name="adj" fmla="val 16667"/>
            </a:avLst>
          </a:prstGeom>
          <a:ln>
            <a:solidFill>
              <a:srgbClr val="4472C4"/>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6" name="Picture 6" descr="Qr code&#10;&#10;Description automatically generated">
            <a:extLst>
              <a:ext uri="{FF2B5EF4-FFF2-40B4-BE49-F238E27FC236}">
                <a16:creationId xmlns:a16="http://schemas.microsoft.com/office/drawing/2014/main" id="{2EA2FAAA-08B2-4556-AC25-180BCF981BA9}"/>
              </a:ext>
            </a:extLst>
          </p:cNvPr>
          <p:cNvPicPr>
            <a:picLocks noChangeAspect="1"/>
          </p:cNvPicPr>
          <p:nvPr/>
        </p:nvPicPr>
        <p:blipFill>
          <a:blip r:embed="rId4"/>
          <a:stretch>
            <a:fillRect/>
          </a:stretch>
        </p:blipFill>
        <p:spPr>
          <a:xfrm>
            <a:off x="9327311" y="2246463"/>
            <a:ext cx="2508848" cy="2523226"/>
          </a:xfrm>
          <a:prstGeom prst="roundRect">
            <a:avLst>
              <a:gd name="adj" fmla="val 16667"/>
            </a:avLst>
          </a:prstGeom>
          <a:ln w="57150">
            <a:solidFill>
              <a:srgbClr val="4472C4"/>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Tree>
    <p:extLst>
      <p:ext uri="{BB962C8B-B14F-4D97-AF65-F5344CB8AC3E}">
        <p14:creationId xmlns:p14="http://schemas.microsoft.com/office/powerpoint/2010/main" val="24321836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80B302-33D5-47BD-A88A-90C914F78898}"/>
              </a:ext>
            </a:extLst>
          </p:cNvPr>
          <p:cNvSpPr>
            <a:spLocks noGrp="1"/>
          </p:cNvSpPr>
          <p:nvPr>
            <p:ph type="title"/>
          </p:nvPr>
        </p:nvSpPr>
        <p:spPr>
          <a:xfrm>
            <a:off x="689826" y="2895026"/>
            <a:ext cx="10363200" cy="1051560"/>
          </a:xfrm>
        </p:spPr>
        <p:txBody>
          <a:bodyPr/>
          <a:lstStyle/>
          <a:p>
            <a:r>
              <a:rPr lang="en-US">
                <a:latin typeface="Impact"/>
              </a:rPr>
              <a:t>Questions?</a:t>
            </a:r>
            <a:endParaRPr lang="en-US"/>
          </a:p>
        </p:txBody>
      </p:sp>
    </p:spTree>
    <p:extLst>
      <p:ext uri="{BB962C8B-B14F-4D97-AF65-F5344CB8AC3E}">
        <p14:creationId xmlns:p14="http://schemas.microsoft.com/office/powerpoint/2010/main" val="2575292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075A1-46F6-49D2-B4F2-2259C6296EA0}"/>
              </a:ext>
            </a:extLst>
          </p:cNvPr>
          <p:cNvSpPr>
            <a:spLocks noGrp="1"/>
          </p:cNvSpPr>
          <p:nvPr>
            <p:ph type="title"/>
          </p:nvPr>
        </p:nvSpPr>
        <p:spPr>
          <a:xfrm>
            <a:off x="502920" y="2377441"/>
            <a:ext cx="10363200" cy="1051560"/>
          </a:xfrm>
        </p:spPr>
        <p:txBody>
          <a:bodyPr/>
          <a:lstStyle/>
          <a:p>
            <a:r>
              <a:rPr lang="en-US">
                <a:latin typeface="Impact"/>
              </a:rPr>
              <a:t>Introduction to </a:t>
            </a:r>
            <a:r>
              <a:rPr lang="en-US" err="1">
                <a:latin typeface="Impact"/>
              </a:rPr>
              <a:t>teledentistry</a:t>
            </a:r>
            <a:endParaRPr lang="en-US" err="1"/>
          </a:p>
        </p:txBody>
      </p:sp>
    </p:spTree>
    <p:extLst>
      <p:ext uri="{BB962C8B-B14F-4D97-AF65-F5344CB8AC3E}">
        <p14:creationId xmlns:p14="http://schemas.microsoft.com/office/powerpoint/2010/main" val="22019806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034392D-753F-440A-8DE4-6C170094B792}"/>
              </a:ext>
            </a:extLst>
          </p:cNvPr>
          <p:cNvSpPr>
            <a:spLocks noGrp="1"/>
          </p:cNvSpPr>
          <p:nvPr>
            <p:ph type="title"/>
          </p:nvPr>
        </p:nvSpPr>
        <p:spPr/>
        <p:txBody>
          <a:bodyPr/>
          <a:lstStyle/>
          <a:p>
            <a:r>
              <a:rPr lang="en-US">
                <a:cs typeface="Arial"/>
              </a:rPr>
              <a:t>Chat Question </a:t>
            </a:r>
            <a:endParaRPr lang="en-US"/>
          </a:p>
        </p:txBody>
      </p:sp>
      <p:sp>
        <p:nvSpPr>
          <p:cNvPr id="3" name="Text Placeholder 2">
            <a:extLst>
              <a:ext uri="{FF2B5EF4-FFF2-40B4-BE49-F238E27FC236}">
                <a16:creationId xmlns:a16="http://schemas.microsoft.com/office/drawing/2014/main" id="{E2C15854-EBCB-420B-A63A-EEE5C8094E4E}"/>
              </a:ext>
            </a:extLst>
          </p:cNvPr>
          <p:cNvSpPr>
            <a:spLocks noGrp="1"/>
          </p:cNvSpPr>
          <p:nvPr>
            <p:ph type="body" sz="half" idx="2"/>
          </p:nvPr>
        </p:nvSpPr>
        <p:spPr/>
        <p:txBody>
          <a:bodyPr/>
          <a:lstStyle/>
          <a:p>
            <a:r>
              <a:rPr lang="en-US">
                <a:ea typeface="+mn-lt"/>
                <a:cs typeface="+mn-lt"/>
                <a:hlinkClick r:id="rId3"/>
              </a:rPr>
              <a:t>Teledentistry Student Group (unc.edu)</a:t>
            </a:r>
            <a:endParaRPr lang="en-US"/>
          </a:p>
        </p:txBody>
      </p:sp>
      <p:sp>
        <p:nvSpPr>
          <p:cNvPr id="6" name="Rectangle: Rounded Corners 5">
            <a:extLst>
              <a:ext uri="{FF2B5EF4-FFF2-40B4-BE49-F238E27FC236}">
                <a16:creationId xmlns:a16="http://schemas.microsoft.com/office/drawing/2014/main" id="{9BE2F00D-CAA1-46EF-8C67-BFF8B2020878}"/>
              </a:ext>
            </a:extLst>
          </p:cNvPr>
          <p:cNvSpPr/>
          <p:nvPr/>
        </p:nvSpPr>
        <p:spPr>
          <a:xfrm>
            <a:off x="4071667" y="1835990"/>
            <a:ext cx="6607832" cy="3200398"/>
          </a:xfrm>
          <a:prstGeom prst="roundRect">
            <a:avLst/>
          </a:prstGeom>
          <a:solidFill>
            <a:schemeClr val="tx2"/>
          </a:solidFill>
          <a:ln w="57150">
            <a:solidFill>
              <a:schemeClr val="accent4"/>
            </a:solid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sz="3000">
              <a:ea typeface="+mn-lt"/>
              <a:cs typeface="+mn-lt"/>
            </a:endParaRPr>
          </a:p>
          <a:p>
            <a:pPr algn="ctr"/>
            <a:endParaRPr lang="en-US" sz="3000">
              <a:ea typeface="+mn-lt"/>
              <a:cs typeface="+mn-lt"/>
            </a:endParaRPr>
          </a:p>
          <a:p>
            <a:pPr algn="ctr"/>
            <a:endParaRPr lang="en-US" sz="3000">
              <a:ea typeface="+mn-lt"/>
              <a:cs typeface="+mn-lt"/>
            </a:endParaRPr>
          </a:p>
          <a:p>
            <a:pPr algn="ctr"/>
            <a:r>
              <a:rPr lang="en-US" sz="3000">
                <a:ea typeface="+mn-lt"/>
                <a:cs typeface="+mn-lt"/>
              </a:rPr>
              <a:t>What comes to mind when you think about teledentistry?</a:t>
            </a:r>
            <a:endParaRPr lang="en-US"/>
          </a:p>
          <a:p>
            <a:pPr algn="ctr"/>
            <a:endParaRPr lang="en-US" sz="3000">
              <a:cs typeface="Arial"/>
            </a:endParaRPr>
          </a:p>
          <a:p>
            <a:pPr algn="ctr"/>
            <a:endParaRPr lang="en-US" b="1">
              <a:ea typeface="+mn-lt"/>
              <a:cs typeface="+mn-lt"/>
            </a:endParaRPr>
          </a:p>
          <a:p>
            <a:endParaRPr lang="en-US">
              <a:cs typeface="Arial"/>
            </a:endParaRPr>
          </a:p>
          <a:p>
            <a:pPr>
              <a:buFont typeface="Arial"/>
            </a:pPr>
            <a:endParaRPr lang="en-US">
              <a:cs typeface="Arial"/>
            </a:endParaRPr>
          </a:p>
          <a:p>
            <a:pPr algn="ctr"/>
            <a:endParaRPr lang="en-US">
              <a:cs typeface="Arial"/>
            </a:endParaRPr>
          </a:p>
        </p:txBody>
      </p:sp>
      <p:pic>
        <p:nvPicPr>
          <p:cNvPr id="7" name="Picture 7" descr="A picture containing shape&#10;&#10;Description automatically generated">
            <a:extLst>
              <a:ext uri="{FF2B5EF4-FFF2-40B4-BE49-F238E27FC236}">
                <a16:creationId xmlns:a16="http://schemas.microsoft.com/office/drawing/2014/main" id="{AE6E3F89-94F7-4211-BEDA-89FB45BB6C53}"/>
              </a:ext>
            </a:extLst>
          </p:cNvPr>
          <p:cNvPicPr>
            <a:picLocks noChangeAspect="1"/>
          </p:cNvPicPr>
          <p:nvPr/>
        </p:nvPicPr>
        <p:blipFill rotWithShape="1">
          <a:blip r:embed="rId4"/>
          <a:srcRect t="-561" r="68386" b="-654"/>
          <a:stretch/>
        </p:blipFill>
        <p:spPr>
          <a:xfrm>
            <a:off x="1058174" y="2149769"/>
            <a:ext cx="2299472" cy="2560555"/>
          </a:xfrm>
          <a:prstGeom prst="rect">
            <a:avLst/>
          </a:prstGeom>
        </p:spPr>
      </p:pic>
    </p:spTree>
    <p:extLst>
      <p:ext uri="{BB962C8B-B14F-4D97-AF65-F5344CB8AC3E}">
        <p14:creationId xmlns:p14="http://schemas.microsoft.com/office/powerpoint/2010/main" val="37653829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DDF79-2D31-4CB3-8162-6BA9690AEB42}"/>
              </a:ext>
            </a:extLst>
          </p:cNvPr>
          <p:cNvSpPr>
            <a:spLocks noGrp="1"/>
          </p:cNvSpPr>
          <p:nvPr>
            <p:ph type="title"/>
          </p:nvPr>
        </p:nvSpPr>
        <p:spPr/>
        <p:txBody>
          <a:bodyPr/>
          <a:lstStyle/>
          <a:p>
            <a:r>
              <a:rPr lang="en-US" err="1">
                <a:ea typeface="+mj-lt"/>
                <a:cs typeface="+mj-lt"/>
              </a:rPr>
              <a:t>Teledentistry</a:t>
            </a:r>
            <a:r>
              <a:rPr lang="en-US">
                <a:ea typeface="+mj-lt"/>
                <a:cs typeface="+mj-lt"/>
              </a:rPr>
              <a:t> </a:t>
            </a:r>
            <a:endParaRPr lang="en-US" b="0">
              <a:ea typeface="+mj-lt"/>
              <a:cs typeface="+mj-lt"/>
            </a:endParaRPr>
          </a:p>
          <a:p>
            <a:endParaRPr lang="en-US">
              <a:cs typeface="Arial"/>
            </a:endParaRPr>
          </a:p>
        </p:txBody>
      </p:sp>
      <p:sp>
        <p:nvSpPr>
          <p:cNvPr id="4" name="Content Placeholder 3">
            <a:extLst>
              <a:ext uri="{FF2B5EF4-FFF2-40B4-BE49-F238E27FC236}">
                <a16:creationId xmlns:a16="http://schemas.microsoft.com/office/drawing/2014/main" id="{EF4DBA36-B0F4-48D8-884E-D8F2F1487B4D}"/>
              </a:ext>
            </a:extLst>
          </p:cNvPr>
          <p:cNvSpPr>
            <a:spLocks noGrp="1"/>
          </p:cNvSpPr>
          <p:nvPr>
            <p:ph idx="1"/>
          </p:nvPr>
        </p:nvSpPr>
        <p:spPr/>
        <p:txBody>
          <a:bodyPr vert="horz" lIns="0" tIns="45720" rIns="0" bIns="45720" rtlCol="0" anchor="t">
            <a:noAutofit/>
          </a:bodyPr>
          <a:lstStyle/>
          <a:p>
            <a:pPr algn="ctr"/>
            <a:r>
              <a:rPr lang="en-US" sz="2500">
                <a:ea typeface="+mn-lt"/>
                <a:cs typeface="+mn-lt"/>
              </a:rPr>
              <a:t>“the use of technology to communicate health information, provide oral healthcare, screen, and educate remotely between oral healthcare providers and patients.”</a:t>
            </a:r>
            <a:endParaRPr lang="en-US" sz="2500">
              <a:cs typeface="Arial" panose="020B0604020202020204"/>
            </a:endParaRPr>
          </a:p>
        </p:txBody>
      </p:sp>
      <p:sp>
        <p:nvSpPr>
          <p:cNvPr id="3" name="Text Placeholder 2">
            <a:extLst>
              <a:ext uri="{FF2B5EF4-FFF2-40B4-BE49-F238E27FC236}">
                <a16:creationId xmlns:a16="http://schemas.microsoft.com/office/drawing/2014/main" id="{5ECC9D8D-0C60-4472-BE66-F72A84EF1321}"/>
              </a:ext>
            </a:extLst>
          </p:cNvPr>
          <p:cNvSpPr>
            <a:spLocks noGrp="1"/>
          </p:cNvSpPr>
          <p:nvPr>
            <p:ph type="body" sz="half" idx="2"/>
          </p:nvPr>
        </p:nvSpPr>
        <p:spPr>
          <a:xfrm>
            <a:off x="157864" y="6460401"/>
            <a:ext cx="5593080" cy="336332"/>
          </a:xfrm>
        </p:spPr>
        <p:txBody>
          <a:bodyPr/>
          <a:lstStyle/>
          <a:p>
            <a:r>
              <a:rPr lang="en-US">
                <a:cs typeface="Arial"/>
              </a:rPr>
              <a:t>Source: </a:t>
            </a:r>
            <a:r>
              <a:rPr lang="en-US">
                <a:ea typeface="+mn-lt"/>
                <a:cs typeface="+mn-lt"/>
              </a:rPr>
              <a:t>Chen JW, </a:t>
            </a:r>
            <a:r>
              <a:rPr lang="en-US" err="1">
                <a:ea typeface="+mn-lt"/>
                <a:cs typeface="+mn-lt"/>
              </a:rPr>
              <a:t>Hobdell</a:t>
            </a:r>
            <a:r>
              <a:rPr lang="en-US">
                <a:ea typeface="+mn-lt"/>
                <a:cs typeface="+mn-lt"/>
              </a:rPr>
              <a:t> MH, Dunn K, et al. J Am Dent Assoc. 2003.</a:t>
            </a:r>
          </a:p>
          <a:p>
            <a:endParaRPr lang="en-US">
              <a:cs typeface="Arial"/>
            </a:endParaRPr>
          </a:p>
        </p:txBody>
      </p:sp>
      <p:pic>
        <p:nvPicPr>
          <p:cNvPr id="6" name="Picture Placeholder 16" descr="Internet">
            <a:extLst>
              <a:ext uri="{FF2B5EF4-FFF2-40B4-BE49-F238E27FC236}">
                <a16:creationId xmlns:a16="http://schemas.microsoft.com/office/drawing/2014/main" id="{79910EFB-BB7A-4E26-B4F9-3F08190D8204}"/>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5217716" y="3610239"/>
            <a:ext cx="1988401" cy="1988401"/>
          </a:xfrm>
          <a:prstGeom prst="rect">
            <a:avLst/>
          </a:prstGeom>
        </p:spPr>
      </p:pic>
      <p:pic>
        <p:nvPicPr>
          <p:cNvPr id="8" name="Picture Placeholder 18" descr="Tooth">
            <a:extLst>
              <a:ext uri="{FF2B5EF4-FFF2-40B4-BE49-F238E27FC236}">
                <a16:creationId xmlns:a16="http://schemas.microsoft.com/office/drawing/2014/main" id="{0E5EB08E-D943-471F-8008-CF628E2CB295}"/>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946576" y="4240591"/>
            <a:ext cx="530680" cy="530680"/>
          </a:xfrm>
          <a:prstGeom prst="rect">
            <a:avLst/>
          </a:prstGeom>
        </p:spPr>
      </p:pic>
      <p:sp>
        <p:nvSpPr>
          <p:cNvPr id="10" name="TextBox 9">
            <a:extLst>
              <a:ext uri="{FF2B5EF4-FFF2-40B4-BE49-F238E27FC236}">
                <a16:creationId xmlns:a16="http://schemas.microsoft.com/office/drawing/2014/main" id="{F5566E48-8D1C-4F4D-A392-7B4A0844AF0B}"/>
              </a:ext>
            </a:extLst>
          </p:cNvPr>
          <p:cNvSpPr txBox="1"/>
          <p:nvPr/>
        </p:nvSpPr>
        <p:spPr>
          <a:xfrm>
            <a:off x="5870104" y="4156091"/>
            <a:ext cx="707314" cy="656549"/>
          </a:xfrm>
          <a:prstGeom prst="rect">
            <a:avLst/>
          </a:prstGeom>
          <a:solidFill>
            <a:schemeClr val="bg1"/>
          </a:solidFill>
        </p:spPr>
        <p:txBody>
          <a:bodyPr wrap="square" rtlCol="0">
            <a:spAutoFit/>
          </a:bodyPr>
          <a:lstStyle/>
          <a:p>
            <a:endParaRPr lang="en-US"/>
          </a:p>
        </p:txBody>
      </p:sp>
      <p:pic>
        <p:nvPicPr>
          <p:cNvPr id="12" name="Picture Placeholder 18" descr="Tooth">
            <a:extLst>
              <a:ext uri="{FF2B5EF4-FFF2-40B4-BE49-F238E27FC236}">
                <a16:creationId xmlns:a16="http://schemas.microsoft.com/office/drawing/2014/main" id="{01E7F6DA-54DA-42C4-B88B-A042C891595F}"/>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5960954" y="4240591"/>
            <a:ext cx="530680" cy="530680"/>
          </a:xfrm>
          <a:prstGeom prst="rect">
            <a:avLst/>
          </a:prstGeom>
        </p:spPr>
      </p:pic>
    </p:spTree>
    <p:extLst>
      <p:ext uri="{BB962C8B-B14F-4D97-AF65-F5344CB8AC3E}">
        <p14:creationId xmlns:p14="http://schemas.microsoft.com/office/powerpoint/2010/main" val="33555871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A0E406-0C9A-4B34-8241-EA1D16D997B2}"/>
              </a:ext>
            </a:extLst>
          </p:cNvPr>
          <p:cNvSpPr>
            <a:spLocks noGrp="1"/>
          </p:cNvSpPr>
          <p:nvPr>
            <p:ph type="title"/>
          </p:nvPr>
        </p:nvSpPr>
        <p:spPr/>
        <p:txBody>
          <a:bodyPr/>
          <a:lstStyle/>
          <a:p>
            <a:r>
              <a:rPr lang="en-US">
                <a:ea typeface="+mj-lt"/>
                <a:cs typeface="+mj-lt"/>
              </a:rPr>
              <a:t>Modalities </a:t>
            </a:r>
            <a:endParaRPr lang="en-US" b="0">
              <a:ea typeface="+mj-lt"/>
              <a:cs typeface="+mj-lt"/>
            </a:endParaRPr>
          </a:p>
          <a:p>
            <a:endParaRPr lang="en-US">
              <a:cs typeface="Arial"/>
            </a:endParaRPr>
          </a:p>
        </p:txBody>
      </p:sp>
      <p:sp>
        <p:nvSpPr>
          <p:cNvPr id="4" name="Text Placeholder 3">
            <a:extLst>
              <a:ext uri="{FF2B5EF4-FFF2-40B4-BE49-F238E27FC236}">
                <a16:creationId xmlns:a16="http://schemas.microsoft.com/office/drawing/2014/main" id="{66CB8B3C-F6F5-4D60-AB59-C9525A69F49D}"/>
              </a:ext>
            </a:extLst>
          </p:cNvPr>
          <p:cNvSpPr>
            <a:spLocks noGrp="1"/>
          </p:cNvSpPr>
          <p:nvPr>
            <p:ph type="body" sz="half" idx="2"/>
          </p:nvPr>
        </p:nvSpPr>
        <p:spPr>
          <a:xfrm>
            <a:off x="114732" y="6446024"/>
            <a:ext cx="5593080" cy="336332"/>
          </a:xfrm>
        </p:spPr>
        <p:txBody>
          <a:bodyPr/>
          <a:lstStyle/>
          <a:p>
            <a:r>
              <a:rPr lang="en-US">
                <a:cs typeface="Arial"/>
              </a:rPr>
              <a:t>Source: </a:t>
            </a:r>
            <a:r>
              <a:rPr lang="en-US">
                <a:ea typeface="+mn-lt"/>
                <a:cs typeface="+mn-lt"/>
                <a:hlinkClick r:id="rId3"/>
              </a:rPr>
              <a:t>https://www.ada.org/en/about-the-ada/ada-positions-policies-and-statements/statement-on-teledentistry</a:t>
            </a:r>
            <a:endParaRPr lang="en-US">
              <a:ea typeface="+mn-lt"/>
              <a:cs typeface="+mn-lt"/>
            </a:endParaRPr>
          </a:p>
          <a:p>
            <a:endParaRPr lang="en-US">
              <a:cs typeface="Arial"/>
            </a:endParaRPr>
          </a:p>
        </p:txBody>
      </p:sp>
      <p:sp>
        <p:nvSpPr>
          <p:cNvPr id="48" name="Rectangle 47">
            <a:extLst>
              <a:ext uri="{FF2B5EF4-FFF2-40B4-BE49-F238E27FC236}">
                <a16:creationId xmlns:a16="http://schemas.microsoft.com/office/drawing/2014/main" id="{51EF5003-6620-42BB-AF8D-68A1C14639DF}"/>
              </a:ext>
            </a:extLst>
          </p:cNvPr>
          <p:cNvSpPr/>
          <p:nvPr/>
        </p:nvSpPr>
        <p:spPr>
          <a:xfrm>
            <a:off x="0" y="1962569"/>
            <a:ext cx="12192000" cy="362442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6198"/>
              </a:solidFill>
              <a:effectLst/>
              <a:uLnTx/>
              <a:uFillTx/>
              <a:latin typeface="Arial"/>
              <a:ea typeface="+mn-ea"/>
              <a:cs typeface="+mn-cs"/>
            </a:endParaRPr>
          </a:p>
        </p:txBody>
      </p:sp>
      <p:sp>
        <p:nvSpPr>
          <p:cNvPr id="50" name="TextBox 49">
            <a:extLst>
              <a:ext uri="{FF2B5EF4-FFF2-40B4-BE49-F238E27FC236}">
                <a16:creationId xmlns:a16="http://schemas.microsoft.com/office/drawing/2014/main" id="{2AE59183-881D-4B0A-A16D-752A26266A41}"/>
              </a:ext>
            </a:extLst>
          </p:cNvPr>
          <p:cNvSpPr txBox="1"/>
          <p:nvPr/>
        </p:nvSpPr>
        <p:spPr>
          <a:xfrm>
            <a:off x="-186177" y="4115510"/>
            <a:ext cx="3089797" cy="830997"/>
          </a:xfrm>
          <a:prstGeom prst="rect">
            <a:avLst/>
          </a:prstGeom>
          <a:noFill/>
        </p:spPr>
        <p:txBody>
          <a:bodyPr wrap="square" lIns="91440" tIns="45720" rIns="91440" bIns="45720" rtlCol="0" anchor="t">
            <a:spAutoFit/>
          </a:bodyPr>
          <a:lstStyle/>
          <a:p>
            <a:pPr algn="ctr">
              <a:defRPr/>
            </a:pPr>
            <a:r>
              <a:rPr lang="en-US" sz="2400">
                <a:solidFill>
                  <a:schemeClr val="bg1"/>
                </a:solidFill>
                <a:ea typeface="+mn-lt"/>
                <a:cs typeface="+mn-lt"/>
              </a:rPr>
              <a:t>Live video </a:t>
            </a:r>
          </a:p>
          <a:p>
            <a:pPr algn="ctr">
              <a:defRPr/>
            </a:pPr>
            <a:r>
              <a:rPr lang="en-US" sz="2400">
                <a:solidFill>
                  <a:schemeClr val="bg1"/>
                </a:solidFill>
                <a:ea typeface="+mn-lt"/>
                <a:cs typeface="+mn-lt"/>
              </a:rPr>
              <a:t>(synchronous)</a:t>
            </a:r>
            <a:endParaRPr lang="en-US" sz="2400">
              <a:solidFill>
                <a:schemeClr val="bg1"/>
              </a:solidFill>
              <a:cs typeface="Arial"/>
            </a:endParaRPr>
          </a:p>
        </p:txBody>
      </p:sp>
      <p:sp>
        <p:nvSpPr>
          <p:cNvPr id="52" name="TextBox 51">
            <a:extLst>
              <a:ext uri="{FF2B5EF4-FFF2-40B4-BE49-F238E27FC236}">
                <a16:creationId xmlns:a16="http://schemas.microsoft.com/office/drawing/2014/main" id="{7546B801-8F7C-4E85-A6C5-4ED67B3787D1}"/>
              </a:ext>
            </a:extLst>
          </p:cNvPr>
          <p:cNvSpPr txBox="1"/>
          <p:nvPr/>
        </p:nvSpPr>
        <p:spPr>
          <a:xfrm>
            <a:off x="2785267" y="4115508"/>
            <a:ext cx="3089797" cy="830997"/>
          </a:xfrm>
          <a:prstGeom prst="rect">
            <a:avLst/>
          </a:prstGeom>
          <a:noFill/>
        </p:spPr>
        <p:txBody>
          <a:bodyPr wrap="square" lIns="91440" tIns="45720" rIns="91440" bIns="45720" rtlCol="0" anchor="t">
            <a:spAutoFit/>
          </a:bodyPr>
          <a:lstStyle/>
          <a:p>
            <a:pPr algn="ctr">
              <a:defRPr/>
            </a:pPr>
            <a:r>
              <a:rPr lang="en-US" sz="2400">
                <a:solidFill>
                  <a:schemeClr val="bg1"/>
                </a:solidFill>
                <a:ea typeface="+mn-lt"/>
                <a:cs typeface="+mn-lt"/>
              </a:rPr>
              <a:t>Store-and-forward </a:t>
            </a:r>
          </a:p>
          <a:p>
            <a:pPr algn="ctr">
              <a:defRPr/>
            </a:pPr>
            <a:r>
              <a:rPr lang="en-US" sz="2400">
                <a:solidFill>
                  <a:schemeClr val="bg1"/>
                </a:solidFill>
                <a:ea typeface="+mn-lt"/>
                <a:cs typeface="+mn-lt"/>
              </a:rPr>
              <a:t>(asynchronous)</a:t>
            </a:r>
            <a:endParaRPr lang="en-US">
              <a:solidFill>
                <a:schemeClr val="bg1"/>
              </a:solidFill>
              <a:cs typeface="Arial"/>
            </a:endParaRPr>
          </a:p>
        </p:txBody>
      </p:sp>
      <p:sp>
        <p:nvSpPr>
          <p:cNvPr id="54" name="TextBox 53">
            <a:extLst>
              <a:ext uri="{FF2B5EF4-FFF2-40B4-BE49-F238E27FC236}">
                <a16:creationId xmlns:a16="http://schemas.microsoft.com/office/drawing/2014/main" id="{2D904E69-BCAE-4EA7-89DE-6F7DE90E45D7}"/>
              </a:ext>
            </a:extLst>
          </p:cNvPr>
          <p:cNvSpPr txBox="1"/>
          <p:nvPr/>
        </p:nvSpPr>
        <p:spPr>
          <a:xfrm>
            <a:off x="6280482" y="4043621"/>
            <a:ext cx="3089797" cy="1200329"/>
          </a:xfrm>
          <a:prstGeom prst="rect">
            <a:avLst/>
          </a:prstGeom>
          <a:noFill/>
        </p:spPr>
        <p:txBody>
          <a:bodyPr wrap="square" lIns="91440" tIns="45720" rIns="91440" bIns="45720" rtlCol="0" anchor="t">
            <a:spAutoFit/>
          </a:bodyPr>
          <a:lstStyle/>
          <a:p>
            <a:pPr algn="ctr">
              <a:defRPr/>
            </a:pPr>
            <a:r>
              <a:rPr lang="en-US" sz="2400">
                <a:solidFill>
                  <a:schemeClr val="bg1"/>
                </a:solidFill>
                <a:ea typeface="+mn-lt"/>
                <a:cs typeface="+mn-lt"/>
              </a:rPr>
              <a:t>Remote patient monitoring (RPM)</a:t>
            </a:r>
            <a:endParaRPr lang="en-US">
              <a:solidFill>
                <a:schemeClr val="bg1"/>
              </a:solidFill>
              <a:ea typeface="+mn-ea"/>
              <a:cs typeface="+mn-cs"/>
            </a:endParaRPr>
          </a:p>
        </p:txBody>
      </p:sp>
      <p:sp>
        <p:nvSpPr>
          <p:cNvPr id="56" name="TextBox 55">
            <a:extLst>
              <a:ext uri="{FF2B5EF4-FFF2-40B4-BE49-F238E27FC236}">
                <a16:creationId xmlns:a16="http://schemas.microsoft.com/office/drawing/2014/main" id="{098B8E3E-B1C4-4EB3-9B39-BF79CF92D058}"/>
              </a:ext>
            </a:extLst>
          </p:cNvPr>
          <p:cNvSpPr txBox="1"/>
          <p:nvPr/>
        </p:nvSpPr>
        <p:spPr>
          <a:xfrm>
            <a:off x="9173647" y="4115508"/>
            <a:ext cx="3089797" cy="830997"/>
          </a:xfrm>
          <a:prstGeom prst="rect">
            <a:avLst/>
          </a:prstGeom>
          <a:noFill/>
        </p:spPr>
        <p:txBody>
          <a:bodyPr wrap="square" lIns="91440" tIns="45720" rIns="91440" bIns="45720" rtlCol="0" anchor="t">
            <a:spAutoFit/>
          </a:bodyPr>
          <a:lstStyle/>
          <a:p>
            <a:pPr algn="ctr">
              <a:defRPr/>
            </a:pPr>
            <a:r>
              <a:rPr lang="en-US" sz="2400">
                <a:solidFill>
                  <a:schemeClr val="bg1"/>
                </a:solidFill>
                <a:ea typeface="+mn-lt"/>
                <a:cs typeface="+mn-lt"/>
              </a:rPr>
              <a:t>Mobile health (mHealth)</a:t>
            </a:r>
            <a:endParaRPr lang="en-US">
              <a:solidFill>
                <a:schemeClr val="bg1"/>
              </a:solidFill>
              <a:cs typeface="Arial" panose="020B0604020202020204"/>
            </a:endParaRPr>
          </a:p>
        </p:txBody>
      </p:sp>
      <p:pic>
        <p:nvPicPr>
          <p:cNvPr id="66" name="Picture Placeholder 26" descr="Programmer">
            <a:extLst>
              <a:ext uri="{FF2B5EF4-FFF2-40B4-BE49-F238E27FC236}">
                <a16:creationId xmlns:a16="http://schemas.microsoft.com/office/drawing/2014/main" id="{6F7AEA30-C71E-4C0B-9C63-65E4CDDDE452}"/>
              </a:ext>
            </a:extLst>
          </p:cNvPr>
          <p:cNvPicPr>
            <a:picLocks noChangeAspect="1"/>
          </p:cNvPicPr>
          <p:nvPr/>
        </p:nvPicPr>
        <p:blipFill>
          <a:blip r:embed="rId4">
            <a:extLst>
              <a:ext uri="{96DAC541-7B7A-43D3-8B79-37D633B846F1}">
                <asvg:svgBlip xmlns:asvg="http://schemas.microsoft.com/office/drawing/2016/SVG/main" r:embed="rId5"/>
              </a:ext>
            </a:extLst>
          </a:blip>
          <a:srcRect t="9367" b="9367"/>
          <a:stretch>
            <a:fillRect/>
          </a:stretch>
        </p:blipFill>
        <p:spPr>
          <a:xfrm>
            <a:off x="457322" y="2389691"/>
            <a:ext cx="1805204" cy="1466666"/>
          </a:xfrm>
          <a:prstGeom prst="rect">
            <a:avLst/>
          </a:prstGeom>
        </p:spPr>
      </p:pic>
      <p:sp>
        <p:nvSpPr>
          <p:cNvPr id="68" name="TextBox 67">
            <a:extLst>
              <a:ext uri="{FF2B5EF4-FFF2-40B4-BE49-F238E27FC236}">
                <a16:creationId xmlns:a16="http://schemas.microsoft.com/office/drawing/2014/main" id="{77F64BFE-38C3-4F07-8C0B-563B16127DB0}"/>
              </a:ext>
            </a:extLst>
          </p:cNvPr>
          <p:cNvSpPr txBox="1"/>
          <p:nvPr/>
        </p:nvSpPr>
        <p:spPr>
          <a:xfrm>
            <a:off x="982740" y="3329885"/>
            <a:ext cx="702435" cy="525780"/>
          </a:xfrm>
          <a:prstGeom prst="rect">
            <a:avLst/>
          </a:prstGeom>
          <a:solidFill>
            <a:schemeClr val="bg1"/>
          </a:solidFill>
        </p:spPr>
        <p:txBody>
          <a:bodyPr wrap="square" rtlCol="0">
            <a:spAutoFit/>
          </a:bodyPr>
          <a:lstStyle/>
          <a:p>
            <a:endParaRPr lang="en-US"/>
          </a:p>
        </p:txBody>
      </p:sp>
      <p:pic>
        <p:nvPicPr>
          <p:cNvPr id="70" name="Picture Placeholder 18" descr="Tooth">
            <a:extLst>
              <a:ext uri="{FF2B5EF4-FFF2-40B4-BE49-F238E27FC236}">
                <a16:creationId xmlns:a16="http://schemas.microsoft.com/office/drawing/2014/main" id="{BA7234FE-BCCC-4B70-9FD5-9BB5046CFF36}"/>
              </a:ext>
              <a:ext uri="{C183D7F6-B498-43B3-948B-1728B52AA6E4}">
                <adec:decorative xmlns:adec="http://schemas.microsoft.com/office/drawing/2017/decorative" val="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1133415" y="3369064"/>
            <a:ext cx="459734" cy="447422"/>
          </a:xfrm>
          <a:prstGeom prst="rect">
            <a:avLst/>
          </a:prstGeom>
        </p:spPr>
      </p:pic>
      <p:pic>
        <p:nvPicPr>
          <p:cNvPr id="72" name="Picture Placeholder 28" descr="Cloud Computing">
            <a:extLst>
              <a:ext uri="{FF2B5EF4-FFF2-40B4-BE49-F238E27FC236}">
                <a16:creationId xmlns:a16="http://schemas.microsoft.com/office/drawing/2014/main" id="{DC4E2356-10A1-4F04-9913-7A301BFF17CE}"/>
              </a:ext>
            </a:extLst>
          </p:cNvPr>
          <p:cNvPicPr>
            <a:picLocks noChangeAspect="1"/>
          </p:cNvPicPr>
          <p:nvPr/>
        </p:nvPicPr>
        <p:blipFill>
          <a:blip r:embed="rId8">
            <a:extLst>
              <a:ext uri="{96DAC541-7B7A-43D3-8B79-37D633B846F1}">
                <asvg:svgBlip xmlns:asvg="http://schemas.microsoft.com/office/drawing/2016/SVG/main" r:embed="rId9"/>
              </a:ext>
            </a:extLst>
          </a:blip>
          <a:srcRect t="9367" b="9367"/>
          <a:stretch>
            <a:fillRect/>
          </a:stretch>
        </p:blipFill>
        <p:spPr>
          <a:xfrm>
            <a:off x="3683453" y="2504709"/>
            <a:ext cx="1805204" cy="1466666"/>
          </a:xfrm>
          <a:prstGeom prst="rect">
            <a:avLst/>
          </a:prstGeom>
        </p:spPr>
      </p:pic>
      <p:pic>
        <p:nvPicPr>
          <p:cNvPr id="74" name="Picture Placeholder 24" descr="Heart with pulse">
            <a:extLst>
              <a:ext uri="{FF2B5EF4-FFF2-40B4-BE49-F238E27FC236}">
                <a16:creationId xmlns:a16="http://schemas.microsoft.com/office/drawing/2014/main" id="{55CF3E2B-D8CC-47E4-A188-D527F4B17718}"/>
              </a:ext>
            </a:extLst>
          </p:cNvPr>
          <p:cNvPicPr>
            <a:picLocks noChangeAspect="1"/>
          </p:cNvPicPr>
          <p:nvPr/>
        </p:nvPicPr>
        <p:blipFill>
          <a:blip r:embed="rId10">
            <a:extLst>
              <a:ext uri="{96DAC541-7B7A-43D3-8B79-37D633B846F1}">
                <asvg:svgBlip xmlns:asvg="http://schemas.microsoft.com/office/drawing/2016/SVG/main" r:embed="rId11"/>
              </a:ext>
            </a:extLst>
          </a:blip>
          <a:srcRect t="9367" b="9367"/>
          <a:stretch>
            <a:fillRect/>
          </a:stretch>
        </p:blipFill>
        <p:spPr>
          <a:xfrm>
            <a:off x="6927133" y="2384582"/>
            <a:ext cx="1805204" cy="1466666"/>
          </a:xfrm>
          <a:prstGeom prst="rect">
            <a:avLst/>
          </a:prstGeom>
        </p:spPr>
      </p:pic>
      <p:pic>
        <p:nvPicPr>
          <p:cNvPr id="76" name="Picture Placeholder 30" descr="Smart Phone">
            <a:extLst>
              <a:ext uri="{FF2B5EF4-FFF2-40B4-BE49-F238E27FC236}">
                <a16:creationId xmlns:a16="http://schemas.microsoft.com/office/drawing/2014/main" id="{BF031F27-FE16-476F-ADB5-AAF43B0DFCD5}"/>
              </a:ext>
            </a:extLst>
          </p:cNvPr>
          <p:cNvPicPr>
            <a:picLocks noChangeAspect="1"/>
          </p:cNvPicPr>
          <p:nvPr/>
        </p:nvPicPr>
        <p:blipFill>
          <a:blip r:embed="rId12">
            <a:extLst>
              <a:ext uri="{96DAC541-7B7A-43D3-8B79-37D633B846F1}">
                <asvg:svgBlip xmlns:asvg="http://schemas.microsoft.com/office/drawing/2016/SVG/main" r:embed="rId13"/>
              </a:ext>
            </a:extLst>
          </a:blip>
          <a:srcRect t="9367" b="9367"/>
          <a:stretch>
            <a:fillRect/>
          </a:stretch>
        </p:blipFill>
        <p:spPr>
          <a:xfrm>
            <a:off x="9808208" y="2571487"/>
            <a:ext cx="1805204" cy="1279761"/>
          </a:xfrm>
          <a:prstGeom prst="rect">
            <a:avLst/>
          </a:prstGeom>
        </p:spPr>
      </p:pic>
    </p:spTree>
    <p:extLst>
      <p:ext uri="{BB962C8B-B14F-4D97-AF65-F5344CB8AC3E}">
        <p14:creationId xmlns:p14="http://schemas.microsoft.com/office/powerpoint/2010/main" val="220967193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3483D8-E853-4CEA-B617-1D057AFC7015}"/>
              </a:ext>
            </a:extLst>
          </p:cNvPr>
          <p:cNvSpPr>
            <a:spLocks noGrp="1"/>
          </p:cNvSpPr>
          <p:nvPr>
            <p:ph type="title"/>
          </p:nvPr>
        </p:nvSpPr>
        <p:spPr/>
        <p:txBody>
          <a:bodyPr/>
          <a:lstStyle/>
          <a:p>
            <a:r>
              <a:rPr lang="en-US">
                <a:cs typeface="Arial"/>
              </a:rPr>
              <a:t>Disclaimer: </a:t>
            </a:r>
            <a:r>
              <a:rPr lang="en-US" err="1">
                <a:cs typeface="Arial"/>
              </a:rPr>
              <a:t>Teledentistry</a:t>
            </a:r>
            <a:r>
              <a:rPr lang="en-US">
                <a:cs typeface="Arial"/>
              </a:rPr>
              <a:t> Regulations</a:t>
            </a:r>
          </a:p>
        </p:txBody>
      </p:sp>
      <p:sp>
        <p:nvSpPr>
          <p:cNvPr id="4" name="Text Placeholder 3">
            <a:extLst>
              <a:ext uri="{FF2B5EF4-FFF2-40B4-BE49-F238E27FC236}">
                <a16:creationId xmlns:a16="http://schemas.microsoft.com/office/drawing/2014/main" id="{B76E320B-9C32-4448-8634-4298F6E59C54}"/>
              </a:ext>
            </a:extLst>
          </p:cNvPr>
          <p:cNvSpPr>
            <a:spLocks noGrp="1"/>
          </p:cNvSpPr>
          <p:nvPr>
            <p:ph type="body" sz="half" idx="2"/>
          </p:nvPr>
        </p:nvSpPr>
        <p:spPr/>
        <p:txBody>
          <a:bodyPr/>
          <a:lstStyle/>
          <a:p>
            <a:r>
              <a:rPr lang="en-US">
                <a:hlinkClick r:id="rId3"/>
              </a:rPr>
              <a:t>What States Allow Teledentistry? Teledentistry in Your State Quick Facts. - </a:t>
            </a:r>
            <a:r>
              <a:rPr lang="en-US" err="1">
                <a:hlinkClick r:id="rId3"/>
              </a:rPr>
              <a:t>MouthWatch</a:t>
            </a:r>
            <a:endParaRPr lang="en-US"/>
          </a:p>
        </p:txBody>
      </p:sp>
      <p:pic>
        <p:nvPicPr>
          <p:cNvPr id="6" name="Picture 6" descr="Map&#10;&#10;Description automatically generated">
            <a:extLst>
              <a:ext uri="{FF2B5EF4-FFF2-40B4-BE49-F238E27FC236}">
                <a16:creationId xmlns:a16="http://schemas.microsoft.com/office/drawing/2014/main" id="{96BF7EBF-2361-44EA-920A-19F8519191AA}"/>
              </a:ext>
            </a:extLst>
          </p:cNvPr>
          <p:cNvPicPr>
            <a:picLocks noChangeAspect="1"/>
          </p:cNvPicPr>
          <p:nvPr/>
        </p:nvPicPr>
        <p:blipFill rotWithShape="1">
          <a:blip r:embed="rId4"/>
          <a:srcRect t="1347" r="206" b="337"/>
          <a:stretch/>
        </p:blipFill>
        <p:spPr>
          <a:xfrm>
            <a:off x="669985" y="1476346"/>
            <a:ext cx="6970152" cy="4192945"/>
          </a:xfrm>
          <a:prstGeom prst="rect">
            <a:avLst/>
          </a:prstGeom>
        </p:spPr>
      </p:pic>
      <p:pic>
        <p:nvPicPr>
          <p:cNvPr id="7" name="Picture 7" descr="Qr code&#10;&#10;Description automatically generated">
            <a:extLst>
              <a:ext uri="{FF2B5EF4-FFF2-40B4-BE49-F238E27FC236}">
                <a16:creationId xmlns:a16="http://schemas.microsoft.com/office/drawing/2014/main" id="{66E2B605-8BBD-4106-B31A-6B2B81EE1F2C}"/>
              </a:ext>
            </a:extLst>
          </p:cNvPr>
          <p:cNvPicPr>
            <a:picLocks noChangeAspect="1"/>
          </p:cNvPicPr>
          <p:nvPr/>
        </p:nvPicPr>
        <p:blipFill>
          <a:blip r:embed="rId5"/>
          <a:stretch>
            <a:fillRect/>
          </a:stretch>
        </p:blipFill>
        <p:spPr>
          <a:xfrm>
            <a:off x="8694708" y="2289594"/>
            <a:ext cx="2250056" cy="2278811"/>
          </a:xfrm>
          <a:prstGeom prst="roundRect">
            <a:avLst>
              <a:gd name="adj" fmla="val 16667"/>
            </a:avLst>
          </a:prstGeom>
          <a:ln w="28575">
            <a:solidFill>
              <a:srgbClr val="4472C4"/>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pic>
        <p:nvPicPr>
          <p:cNvPr id="2050" name="Picture 2" descr="MouthWatch">
            <a:extLst>
              <a:ext uri="{FF2B5EF4-FFF2-40B4-BE49-F238E27FC236}">
                <a16:creationId xmlns:a16="http://schemas.microsoft.com/office/drawing/2014/main" id="{7F045A4B-21D0-4A68-880B-E64C6D6FC9C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790541" y="155656"/>
            <a:ext cx="2228933" cy="5235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93204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F075A1-46F6-49D2-B4F2-2259C6296EA0}"/>
              </a:ext>
            </a:extLst>
          </p:cNvPr>
          <p:cNvSpPr>
            <a:spLocks noGrp="1"/>
          </p:cNvSpPr>
          <p:nvPr>
            <p:ph type="title"/>
          </p:nvPr>
        </p:nvSpPr>
        <p:spPr>
          <a:xfrm>
            <a:off x="502920" y="2377441"/>
            <a:ext cx="10363200" cy="1051560"/>
          </a:xfrm>
        </p:spPr>
        <p:txBody>
          <a:bodyPr/>
          <a:lstStyle/>
          <a:p>
            <a:r>
              <a:rPr lang="en-US">
                <a:latin typeface="Impact"/>
              </a:rPr>
              <a:t>Workflows </a:t>
            </a:r>
            <a:endParaRPr lang="en-US"/>
          </a:p>
        </p:txBody>
      </p:sp>
    </p:spTree>
    <p:extLst>
      <p:ext uri="{BB962C8B-B14F-4D97-AF65-F5344CB8AC3E}">
        <p14:creationId xmlns:p14="http://schemas.microsoft.com/office/powerpoint/2010/main" val="3326831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Q_New_Template_WS_E">
  <a:themeElements>
    <a:clrScheme name="DentaQuest">
      <a:dk1>
        <a:srgbClr val="000000"/>
      </a:dk1>
      <a:lt1>
        <a:srgbClr val="FFFFFF"/>
      </a:lt1>
      <a:dk2>
        <a:srgbClr val="00205B"/>
      </a:dk2>
      <a:lt2>
        <a:srgbClr val="939598"/>
      </a:lt2>
      <a:accent1>
        <a:srgbClr val="006198"/>
      </a:accent1>
      <a:accent2>
        <a:srgbClr val="0085AD"/>
      </a:accent2>
      <a:accent3>
        <a:srgbClr val="3EB1C8"/>
      </a:accent3>
      <a:accent4>
        <a:srgbClr val="87D3D3"/>
      </a:accent4>
      <a:accent5>
        <a:srgbClr val="EF6079"/>
      </a:accent5>
      <a:accent6>
        <a:srgbClr val="95C83C"/>
      </a:accent6>
      <a:hlink>
        <a:srgbClr val="00205B"/>
      </a:hlink>
      <a:folHlink>
        <a:srgbClr val="00619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ln w="19050">
          <a:solidFill>
            <a:schemeClr val="tx1"/>
          </a:solidFill>
          <a:tailEnd type="triangle"/>
        </a:ln>
        <a:effectLst/>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Q_New_Template_WS_E" id="{41B67536-6C0A-A440-81FF-57208C6A9563}" vid="{0BC71A72-3A63-EE48-8398-4F5DC74E85A8}"/>
    </a:ext>
  </a:extLst>
</a:theme>
</file>

<file path=ppt/theme/theme2.xml><?xml version="1.0" encoding="utf-8"?>
<a:theme xmlns:a="http://schemas.openxmlformats.org/drawingml/2006/main" name="DQ_New_Template_E">
  <a:themeElements>
    <a:clrScheme name="DentaQuest">
      <a:dk1>
        <a:srgbClr val="000000"/>
      </a:dk1>
      <a:lt1>
        <a:srgbClr val="FFFFFF"/>
      </a:lt1>
      <a:dk2>
        <a:srgbClr val="00205B"/>
      </a:dk2>
      <a:lt2>
        <a:srgbClr val="939598"/>
      </a:lt2>
      <a:accent1>
        <a:srgbClr val="006198"/>
      </a:accent1>
      <a:accent2>
        <a:srgbClr val="0085AD"/>
      </a:accent2>
      <a:accent3>
        <a:srgbClr val="3EB1C8"/>
      </a:accent3>
      <a:accent4>
        <a:srgbClr val="87D3D3"/>
      </a:accent4>
      <a:accent5>
        <a:srgbClr val="EF6079"/>
      </a:accent5>
      <a:accent6>
        <a:srgbClr val="95C83C"/>
      </a:accent6>
      <a:hlink>
        <a:srgbClr val="00205B"/>
      </a:hlink>
      <a:folHlink>
        <a:srgbClr val="00619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Q_New_Template_E" id="{6008FB92-C7CC-C444-88C8-35EF79FA365E}" vid="{4C02750D-6EA8-8146-A376-9A776C5F470E}"/>
    </a:ext>
  </a:extLst>
</a:theme>
</file>

<file path=ppt/theme/theme3.xml><?xml version="1.0" encoding="utf-8"?>
<a:theme xmlns:a="http://schemas.openxmlformats.org/drawingml/2006/main" name="DQ_New_Template_WS_E">
  <a:themeElements>
    <a:clrScheme name="DentaQuest">
      <a:dk1>
        <a:srgbClr val="000000"/>
      </a:dk1>
      <a:lt1>
        <a:srgbClr val="FFFFFF"/>
      </a:lt1>
      <a:dk2>
        <a:srgbClr val="00205B"/>
      </a:dk2>
      <a:lt2>
        <a:srgbClr val="939598"/>
      </a:lt2>
      <a:accent1>
        <a:srgbClr val="006198"/>
      </a:accent1>
      <a:accent2>
        <a:srgbClr val="0085AD"/>
      </a:accent2>
      <a:accent3>
        <a:srgbClr val="3EB1C8"/>
      </a:accent3>
      <a:accent4>
        <a:srgbClr val="87D3D3"/>
      </a:accent4>
      <a:accent5>
        <a:srgbClr val="EF6079"/>
      </a:accent5>
      <a:accent6>
        <a:srgbClr val="95C83C"/>
      </a:accent6>
      <a:hlink>
        <a:srgbClr val="00205B"/>
      </a:hlink>
      <a:folHlink>
        <a:srgbClr val="00619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DQ_New_Template_WS_E" id="{41B67536-6C0A-A440-81FF-57208C6A9563}" vid="{0BC71A72-3A63-EE48-8398-4F5DC74E85A8}"/>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321BBDD672BAB240AE25E8C18386348A" ma:contentTypeVersion="5" ma:contentTypeDescription="Create a new document." ma:contentTypeScope="" ma:versionID="edb88f5c1ceec33db4cb0b7c993a8ce5">
  <xsd:schema xmlns:xsd="http://www.w3.org/2001/XMLSchema" xmlns:xs="http://www.w3.org/2001/XMLSchema" xmlns:p="http://schemas.microsoft.com/office/2006/metadata/properties" xmlns:ns1="http://schemas.microsoft.com/sharepoint/v3" xmlns:ns2="b22f8f74-215c-4154-9939-bd29e4e8980e" targetNamespace="http://schemas.microsoft.com/office/2006/metadata/properties" ma:root="true" ma:fieldsID="5b851cb5bcdff340b09bfb219dc0c9f3" ns1:_="" ns2:_="">
    <xsd:import namespace="http://schemas.microsoft.com/sharepoint/v3"/>
    <xsd:import namespace="b22f8f74-215c-4154-9939-bd29e4e8980e"/>
    <xsd:element name="properties">
      <xsd:complexType>
        <xsd:sequence>
          <xsd:element name="documentManagement">
            <xsd:complexType>
              <xsd:all>
                <xsd:element ref="ns1:PublishingStartDate" minOccurs="0"/>
                <xsd:element ref="ns1:PublishingExpirationDate" minOccurs="0"/>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 ma:internalName="PublishingStartDate">
      <xsd:simpleType>
        <xsd:restriction base="dms:Unknown"/>
      </xsd:simpleType>
    </xsd:element>
    <xsd:element name="PublishingExpirationDate" ma:index="5" nillable="true" ma:displayName="Scheduling End Date" ma:description=""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2f8f74-215c-4154-9939-bd29e4e8980e" elementFormDefault="qualified">
    <xsd:import namespace="http://schemas.microsoft.com/office/2006/documentManagement/types"/>
    <xsd:import namespace="http://schemas.microsoft.com/office/infopath/2007/PartnerControls"/>
    <xsd:element name="_dlc_DocId" ma:index="10" nillable="true" ma:displayName="Document ID Value" ma:description="The value of the document ID assigned to this item." ma:internalName="_dlc_DocId" ma:readOnly="true">
      <xsd:simpleType>
        <xsd:restriction base="dms:Text"/>
      </xsd:simpleType>
    </xsd:element>
    <xsd:element name="_dlc_DocIdUrl" ma:index="11"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2"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Content Type"/>
        <xsd:element ref="dc:title" minOccurs="0" maxOccurs="1" ma:index="3"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_dlc_DocId xmlns="b22f8f74-215c-4154-9939-bd29e4e8980e">XRUYQT3274NZ-681238054-1812</_dlc_DocId>
    <_dlc_DocIdUrl xmlns="b22f8f74-215c-4154-9939-bd29e4e8980e">
      <Url>https://supportservices.jobcorps.gov/health/_layouts/15/DocIdRedir.aspx?ID=XRUYQT3274NZ-681238054-1812</Url>
      <Description>XRUYQT3274NZ-681238054-1812</Description>
    </_dlc_DocIdUrl>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570C7B64-5283-4A68-ADBC-7F6E64DAD5E5}"/>
</file>

<file path=customXml/itemProps2.xml><?xml version="1.0" encoding="utf-8"?>
<ds:datastoreItem xmlns:ds="http://schemas.openxmlformats.org/officeDocument/2006/customXml" ds:itemID="{C8A76BBC-7A90-4095-9A45-B74D163AC08B}"/>
</file>

<file path=customXml/itemProps3.xml><?xml version="1.0" encoding="utf-8"?>
<ds:datastoreItem xmlns:ds="http://schemas.openxmlformats.org/officeDocument/2006/customXml" ds:itemID="{D0A79A9B-E726-4A84-8237-70E67D26E226}"/>
</file>

<file path=customXml/itemProps4.xml><?xml version="1.0" encoding="utf-8"?>
<ds:datastoreItem xmlns:ds="http://schemas.openxmlformats.org/officeDocument/2006/customXml" ds:itemID="{7457D3AB-9B45-41F6-9B11-B0B83F17172A}"/>
</file>

<file path=docProps/app.xml><?xml version="1.0" encoding="utf-8"?>
<Properties xmlns="http://schemas.openxmlformats.org/officeDocument/2006/extended-properties" xmlns:vt="http://schemas.openxmlformats.org/officeDocument/2006/docPropsVTypes">
  <Template>office theme</Template>
  <TotalTime>1085</TotalTime>
  <Words>4116</Words>
  <Application>Microsoft Office PowerPoint</Application>
  <PresentationFormat>Widescreen</PresentationFormat>
  <Paragraphs>389</Paragraphs>
  <Slides>37</Slides>
  <Notes>30</Notes>
  <HiddenSlides>0</HiddenSlides>
  <MMClips>0</MMClips>
  <ScaleCrop>false</ScaleCrop>
  <HeadingPairs>
    <vt:vector size="8" baseType="variant">
      <vt:variant>
        <vt:lpstr>Fonts Used</vt:lpstr>
      </vt:variant>
      <vt:variant>
        <vt:i4>6</vt:i4>
      </vt:variant>
      <vt:variant>
        <vt:lpstr>Theme</vt:lpstr>
      </vt:variant>
      <vt:variant>
        <vt:i4>3</vt:i4>
      </vt:variant>
      <vt:variant>
        <vt:lpstr>Embedded OLE Servers</vt:lpstr>
      </vt:variant>
      <vt:variant>
        <vt:i4>1</vt:i4>
      </vt:variant>
      <vt:variant>
        <vt:lpstr>Slide Titles</vt:lpstr>
      </vt:variant>
      <vt:variant>
        <vt:i4>37</vt:i4>
      </vt:variant>
    </vt:vector>
  </HeadingPairs>
  <TitlesOfParts>
    <vt:vector size="47" baseType="lpstr">
      <vt:lpstr>.AppleSystemUIFont</vt:lpstr>
      <vt:lpstr>Arial</vt:lpstr>
      <vt:lpstr>Calibre</vt:lpstr>
      <vt:lpstr>Calibri</vt:lpstr>
      <vt:lpstr>Impact</vt:lpstr>
      <vt:lpstr>Roboto Slab</vt:lpstr>
      <vt:lpstr>1_DQ_New_Template_WS_E</vt:lpstr>
      <vt:lpstr>DQ_New_Template_E</vt:lpstr>
      <vt:lpstr>DQ_New_Template_WS_E</vt:lpstr>
      <vt:lpstr>think-cell Slide</vt:lpstr>
      <vt:lpstr>Oral care beyond the chair: teledentistry Strategies for whole-person care</vt:lpstr>
      <vt:lpstr>Chat Question</vt:lpstr>
      <vt:lpstr>Objectives  After the session, participants will be able to: </vt:lpstr>
      <vt:lpstr>Introduction to teledentistry</vt:lpstr>
      <vt:lpstr>Chat Question </vt:lpstr>
      <vt:lpstr>Teledentistry  </vt:lpstr>
      <vt:lpstr>Modalities  </vt:lpstr>
      <vt:lpstr>Disclaimer: Teledentistry Regulations</vt:lpstr>
      <vt:lpstr>Workflows </vt:lpstr>
      <vt:lpstr>Versatility of Teledentistry </vt:lpstr>
      <vt:lpstr>Teledentistry: A Visual</vt:lpstr>
      <vt:lpstr>PowerPoint Presentation</vt:lpstr>
      <vt:lpstr>PowerPoint Presentation</vt:lpstr>
      <vt:lpstr>PowerPoint Presentation</vt:lpstr>
      <vt:lpstr>PowerPoint Presentation</vt:lpstr>
      <vt:lpstr>PowerPoint Presentation</vt:lpstr>
      <vt:lpstr>Tele-Prevention  </vt:lpstr>
      <vt:lpstr>PowerPoint Presentation</vt:lpstr>
      <vt:lpstr>PowerPoint Presentation</vt:lpstr>
      <vt:lpstr>PowerPoint Presentation</vt:lpstr>
      <vt:lpstr>PowerPoint Presentation</vt:lpstr>
      <vt:lpstr>Medical-Dental Integration </vt:lpstr>
      <vt:lpstr>Teledentistry: a patient perspective</vt:lpstr>
      <vt:lpstr>Patients like Teledentistry</vt:lpstr>
      <vt:lpstr>Key Findings from COVID-Era Survey</vt:lpstr>
      <vt:lpstr>Key Findings from COVID-Era Survey</vt:lpstr>
      <vt:lpstr>The best use cases for teledentistry according to patients</vt:lpstr>
      <vt:lpstr>Stress-related oral health conditions in the COVID-19 era</vt:lpstr>
      <vt:lpstr>Learning to SHARE: Five Essentials for Patient-Centered Communication During Synchronous Teledentistry</vt:lpstr>
      <vt:lpstr>PowerPoint Presentation</vt:lpstr>
      <vt:lpstr>PowerPoint Presentation</vt:lpstr>
      <vt:lpstr>PowerPoint Presentation</vt:lpstr>
      <vt:lpstr>Teledentistry for Patient Education and Engagement</vt:lpstr>
      <vt:lpstr>Coding and Billing for Teledentistry  </vt:lpstr>
      <vt:lpstr>Chat Question</vt:lpstr>
      <vt:lpstr>Resources </vt:lpstr>
      <vt:lpstr>Question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eledentistry in Job Corps</dc:title>
  <dc:creator/>
  <cp:lastModifiedBy>McLeod, Caroline</cp:lastModifiedBy>
  <cp:revision>1</cp:revision>
  <dcterms:created xsi:type="dcterms:W3CDTF">2021-01-21T13:11:06Z</dcterms:created>
  <dcterms:modified xsi:type="dcterms:W3CDTF">2021-02-10T15:45:0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21BBDD672BAB240AE25E8C18386348A</vt:lpwstr>
  </property>
  <property fmtid="{D5CDD505-2E9C-101B-9397-08002B2CF9AE}" pid="3" name="_dlc_DocIdItemGuid">
    <vt:lpwstr>62cda362-7f42-4602-aee8-d69f3aa914f9</vt:lpwstr>
  </property>
</Properties>
</file>